
<file path=[Content_Types].xml><?xml version="1.0" encoding="utf-8"?>
<Types xmlns="http://schemas.openxmlformats.org/package/2006/content-types"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charts/chart22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charts/chart23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charts/chart24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charts/chart25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charts/chart26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charts/chart27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charts/chart28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charts/chart29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ppt/charts/chart30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50"/>
  </p:notesMasterIdLst>
  <p:sldIdLst>
    <p:sldId id="1133" r:id="rId2"/>
    <p:sldId id="1360" r:id="rId3"/>
    <p:sldId id="1361" r:id="rId4"/>
    <p:sldId id="1362" r:id="rId5"/>
    <p:sldId id="1363" r:id="rId6"/>
    <p:sldId id="1345" r:id="rId7"/>
    <p:sldId id="1364" r:id="rId8"/>
    <p:sldId id="1365" r:id="rId9"/>
    <p:sldId id="1366" r:id="rId10"/>
    <p:sldId id="1367" r:id="rId11"/>
    <p:sldId id="1368" r:id="rId12"/>
    <p:sldId id="1369" r:id="rId13"/>
    <p:sldId id="1370" r:id="rId14"/>
    <p:sldId id="1371" r:id="rId15"/>
    <p:sldId id="1372" r:id="rId16"/>
    <p:sldId id="1373" r:id="rId17"/>
    <p:sldId id="1374" r:id="rId18"/>
    <p:sldId id="1375" r:id="rId19"/>
    <p:sldId id="1376" r:id="rId20"/>
    <p:sldId id="1377" r:id="rId21"/>
    <p:sldId id="1378" r:id="rId22"/>
    <p:sldId id="1379" r:id="rId23"/>
    <p:sldId id="1380" r:id="rId24"/>
    <p:sldId id="1381" r:id="rId25"/>
    <p:sldId id="1382" r:id="rId26"/>
    <p:sldId id="1383" r:id="rId27"/>
    <p:sldId id="1384" r:id="rId28"/>
    <p:sldId id="1385" r:id="rId29"/>
    <p:sldId id="1386" r:id="rId30"/>
    <p:sldId id="1387" r:id="rId31"/>
    <p:sldId id="1388" r:id="rId32"/>
    <p:sldId id="1389" r:id="rId33"/>
    <p:sldId id="1390" r:id="rId34"/>
    <p:sldId id="1391" r:id="rId35"/>
    <p:sldId id="1392" r:id="rId36"/>
    <p:sldId id="1393" r:id="rId37"/>
    <p:sldId id="1394" r:id="rId38"/>
    <p:sldId id="1395" r:id="rId39"/>
    <p:sldId id="1396" r:id="rId40"/>
    <p:sldId id="1397" r:id="rId41"/>
    <p:sldId id="1398" r:id="rId42"/>
    <p:sldId id="1399" r:id="rId43"/>
    <p:sldId id="1400" r:id="rId44"/>
    <p:sldId id="1401" r:id="rId45"/>
    <p:sldId id="1402" r:id="rId46"/>
    <p:sldId id="1403" r:id="rId47"/>
    <p:sldId id="1404" r:id="rId48"/>
    <p:sldId id="1405" r:id="rId49"/>
  </p:sldIdLst>
  <p:sldSz cx="12192000" cy="6858000"/>
  <p:notesSz cx="6858000" cy="9144000"/>
  <p:custDataLst>
    <p:tags r:id="rId51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3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ováková Tereza Mgr." initials="NTM" lastIdx="1" clrIdx="0">
    <p:extLst>
      <p:ext uri="{19B8F6BF-5375-455C-9EA6-DF929625EA0E}">
        <p15:presenceInfo xmlns:p15="http://schemas.microsoft.com/office/powerpoint/2012/main" userId="S::novakovat@mzcr.cz::9b40fe94-c8d5-4b97-8e02-cc7b1fbd694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FF00"/>
    <a:srgbClr val="FFC000"/>
    <a:srgbClr val="0070C0"/>
    <a:srgbClr val="00B050"/>
    <a:srgbClr val="4472C4"/>
    <a:srgbClr val="305983"/>
    <a:srgbClr val="D31145"/>
    <a:srgbClr val="9E0D34"/>
    <a:srgbClr val="FF66FF"/>
    <a:srgbClr val="FF99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7994" autoAdjust="0"/>
    <p:restoredTop sz="96327" autoAdjust="0"/>
  </p:normalViewPr>
  <p:slideViewPr>
    <p:cSldViewPr snapToGrid="0">
      <p:cViewPr varScale="1">
        <p:scale>
          <a:sx n="114" d="100"/>
          <a:sy n="114" d="100"/>
        </p:scale>
        <p:origin x="876" y="120"/>
      </p:cViewPr>
      <p:guideLst>
        <p:guide orient="horz" pos="123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notesMaster" Target="notesMasters/notesMaster1.xml"/><Relationship Id="rId55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tableStyles" Target="tableStyles.xml"/><Relationship Id="rId8" Type="http://schemas.openxmlformats.org/officeDocument/2006/relationships/slide" Target="slides/slide7.xml"/><Relationship Id="rId51" Type="http://schemas.openxmlformats.org/officeDocument/2006/relationships/tags" Target="tags/tag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1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2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3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4.xlsx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5.xlsx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6.xlsx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7.xlsx"/><Relationship Id="rId2" Type="http://schemas.microsoft.com/office/2011/relationships/chartColorStyle" Target="colors28.xml"/><Relationship Id="rId1" Type="http://schemas.microsoft.com/office/2011/relationships/chartStyle" Target="style28.xm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8.xlsx"/><Relationship Id="rId2" Type="http://schemas.microsoft.com/office/2011/relationships/chartColorStyle" Target="colors29.xml"/><Relationship Id="rId1" Type="http://schemas.microsoft.com/office/2011/relationships/chartStyle" Target="style29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9.xlsx"/><Relationship Id="rId2" Type="http://schemas.microsoft.com/office/2011/relationships/chartColorStyle" Target="colors30.xml"/><Relationship Id="rId1" Type="http://schemas.microsoft.com/office/2011/relationships/chartStyle" Target="style30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B$155:$B$322</c:f>
              <c:numCache>
                <c:formatCode>0</c:formatCode>
                <c:ptCount val="168"/>
                <c:pt idx="0">
                  <c:v>7225</c:v>
                </c:pt>
                <c:pt idx="1">
                  <c:v>9152</c:v>
                </c:pt>
                <c:pt idx="2">
                  <c:v>9667</c:v>
                </c:pt>
                <c:pt idx="3">
                  <c:v>8108</c:v>
                </c:pt>
                <c:pt idx="4">
                  <c:v>8625</c:v>
                </c:pt>
                <c:pt idx="5">
                  <c:v>4820</c:v>
                </c:pt>
                <c:pt idx="6">
                  <c:v>2451</c:v>
                </c:pt>
                <c:pt idx="7">
                  <c:v>7777</c:v>
                </c:pt>
                <c:pt idx="8">
                  <c:v>10284</c:v>
                </c:pt>
                <c:pt idx="9">
                  <c:v>9541</c:v>
                </c:pt>
                <c:pt idx="10">
                  <c:v>9020</c:v>
                </c:pt>
                <c:pt idx="11">
                  <c:v>8830</c:v>
                </c:pt>
                <c:pt idx="12">
                  <c:v>5142</c:v>
                </c:pt>
                <c:pt idx="13">
                  <c:v>2880</c:v>
                </c:pt>
                <c:pt idx="14">
                  <c:v>8907</c:v>
                </c:pt>
                <c:pt idx="15">
                  <c:v>12609</c:v>
                </c:pt>
                <c:pt idx="16">
                  <c:v>10940</c:v>
                </c:pt>
                <c:pt idx="17">
                  <c:v>11706</c:v>
                </c:pt>
                <c:pt idx="18">
                  <c:v>11287</c:v>
                </c:pt>
                <c:pt idx="19">
                  <c:v>6775</c:v>
                </c:pt>
                <c:pt idx="20">
                  <c:v>4070</c:v>
                </c:pt>
                <c:pt idx="21">
                  <c:v>11414</c:v>
                </c:pt>
                <c:pt idx="22">
                  <c:v>15844</c:v>
                </c:pt>
                <c:pt idx="23">
                  <c:v>13801</c:v>
                </c:pt>
                <c:pt idx="24">
                  <c:v>14590</c:v>
                </c:pt>
                <c:pt idx="25">
                  <c:v>14777</c:v>
                </c:pt>
                <c:pt idx="26">
                  <c:v>7861</c:v>
                </c:pt>
                <c:pt idx="27">
                  <c:v>4589</c:v>
                </c:pt>
                <c:pt idx="28">
                  <c:v>12325</c:v>
                </c:pt>
                <c:pt idx="29">
                  <c:v>16785</c:v>
                </c:pt>
                <c:pt idx="30">
                  <c:v>15240</c:v>
                </c:pt>
                <c:pt idx="31">
                  <c:v>14650</c:v>
                </c:pt>
                <c:pt idx="32">
                  <c:v>13170</c:v>
                </c:pt>
                <c:pt idx="33">
                  <c:v>9130</c:v>
                </c:pt>
                <c:pt idx="34">
                  <c:v>3983</c:v>
                </c:pt>
                <c:pt idx="35">
                  <c:v>10654</c:v>
                </c:pt>
                <c:pt idx="36">
                  <c:v>15361</c:v>
                </c:pt>
                <c:pt idx="37">
                  <c:v>14538</c:v>
                </c:pt>
                <c:pt idx="38">
                  <c:v>11246</c:v>
                </c:pt>
                <c:pt idx="39">
                  <c:v>14977</c:v>
                </c:pt>
                <c:pt idx="40">
                  <c:v>7028</c:v>
                </c:pt>
                <c:pt idx="41">
                  <c:v>3334</c:v>
                </c:pt>
                <c:pt idx="42">
                  <c:v>10631</c:v>
                </c:pt>
                <c:pt idx="43">
                  <c:v>14027</c:v>
                </c:pt>
                <c:pt idx="44">
                  <c:v>12029</c:v>
                </c:pt>
                <c:pt idx="45">
                  <c:v>10662</c:v>
                </c:pt>
                <c:pt idx="46">
                  <c:v>9713</c:v>
                </c:pt>
                <c:pt idx="47">
                  <c:v>5467</c:v>
                </c:pt>
                <c:pt idx="48">
                  <c:v>2391</c:v>
                </c:pt>
                <c:pt idx="49">
                  <c:v>8241</c:v>
                </c:pt>
                <c:pt idx="50">
                  <c:v>10968</c:v>
                </c:pt>
                <c:pt idx="51">
                  <c:v>8851</c:v>
                </c:pt>
                <c:pt idx="52">
                  <c:v>7926</c:v>
                </c:pt>
                <c:pt idx="53">
                  <c:v>7714</c:v>
                </c:pt>
                <c:pt idx="54">
                  <c:v>3970</c:v>
                </c:pt>
                <c:pt idx="55">
                  <c:v>1744</c:v>
                </c:pt>
                <c:pt idx="56">
                  <c:v>6937</c:v>
                </c:pt>
                <c:pt idx="57">
                  <c:v>8634</c:v>
                </c:pt>
                <c:pt idx="58">
                  <c:v>7267</c:v>
                </c:pt>
                <c:pt idx="59">
                  <c:v>6246</c:v>
                </c:pt>
                <c:pt idx="60">
                  <c:v>3836</c:v>
                </c:pt>
                <c:pt idx="61">
                  <c:v>2160</c:v>
                </c:pt>
                <c:pt idx="62">
                  <c:v>1925</c:v>
                </c:pt>
                <c:pt idx="63">
                  <c:v>1419</c:v>
                </c:pt>
                <c:pt idx="64">
                  <c:v>5584</c:v>
                </c:pt>
                <c:pt idx="65">
                  <c:v>7052</c:v>
                </c:pt>
                <c:pt idx="66">
                  <c:v>5283</c:v>
                </c:pt>
                <c:pt idx="67">
                  <c:v>4820</c:v>
                </c:pt>
                <c:pt idx="68">
                  <c:v>2207</c:v>
                </c:pt>
                <c:pt idx="69">
                  <c:v>985</c:v>
                </c:pt>
                <c:pt idx="70">
                  <c:v>3868</c:v>
                </c:pt>
                <c:pt idx="71">
                  <c:v>5055</c:v>
                </c:pt>
                <c:pt idx="72">
                  <c:v>3716</c:v>
                </c:pt>
                <c:pt idx="73">
                  <c:v>3263</c:v>
                </c:pt>
                <c:pt idx="74">
                  <c:v>3217</c:v>
                </c:pt>
                <c:pt idx="75">
                  <c:v>1541</c:v>
                </c:pt>
                <c:pt idx="76">
                  <c:v>833</c:v>
                </c:pt>
                <c:pt idx="77">
                  <c:v>3341</c:v>
                </c:pt>
                <c:pt idx="78">
                  <c:v>3816</c:v>
                </c:pt>
                <c:pt idx="79">
                  <c:v>2951</c:v>
                </c:pt>
                <c:pt idx="80">
                  <c:v>2629</c:v>
                </c:pt>
                <c:pt idx="81">
                  <c:v>2601</c:v>
                </c:pt>
                <c:pt idx="82">
                  <c:v>1308</c:v>
                </c:pt>
                <c:pt idx="83">
                  <c:v>825</c:v>
                </c:pt>
                <c:pt idx="84">
                  <c:v>2580</c:v>
                </c:pt>
                <c:pt idx="85">
                  <c:v>3239</c:v>
                </c:pt>
                <c:pt idx="86">
                  <c:v>2488</c:v>
                </c:pt>
                <c:pt idx="87">
                  <c:v>2229</c:v>
                </c:pt>
                <c:pt idx="88">
                  <c:v>2166</c:v>
                </c:pt>
                <c:pt idx="89">
                  <c:v>1171</c:v>
                </c:pt>
                <c:pt idx="90">
                  <c:v>508</c:v>
                </c:pt>
                <c:pt idx="91">
                  <c:v>2219</c:v>
                </c:pt>
                <c:pt idx="92">
                  <c:v>2415</c:v>
                </c:pt>
                <c:pt idx="93">
                  <c:v>1873</c:v>
                </c:pt>
                <c:pt idx="94">
                  <c:v>1572</c:v>
                </c:pt>
                <c:pt idx="95">
                  <c:v>1638</c:v>
                </c:pt>
                <c:pt idx="96">
                  <c:v>725</c:v>
                </c:pt>
                <c:pt idx="97">
                  <c:v>383</c:v>
                </c:pt>
                <c:pt idx="98">
                  <c:v>1544</c:v>
                </c:pt>
                <c:pt idx="99">
                  <c:v>1690</c:v>
                </c:pt>
                <c:pt idx="100">
                  <c:v>1264</c:v>
                </c:pt>
                <c:pt idx="101">
                  <c:v>1223</c:v>
                </c:pt>
                <c:pt idx="102">
                  <c:v>1051</c:v>
                </c:pt>
                <c:pt idx="103">
                  <c:v>597</c:v>
                </c:pt>
                <c:pt idx="104">
                  <c:v>257</c:v>
                </c:pt>
                <c:pt idx="105">
                  <c:v>1128</c:v>
                </c:pt>
                <c:pt idx="106">
                  <c:v>1198</c:v>
                </c:pt>
                <c:pt idx="107">
                  <c:v>778</c:v>
                </c:pt>
                <c:pt idx="108">
                  <c:v>678</c:v>
                </c:pt>
                <c:pt idx="109">
                  <c:v>671</c:v>
                </c:pt>
                <c:pt idx="110">
                  <c:v>333</c:v>
                </c:pt>
                <c:pt idx="111">
                  <c:v>196</c:v>
                </c:pt>
                <c:pt idx="112">
                  <c:v>697</c:v>
                </c:pt>
                <c:pt idx="113">
                  <c:v>661</c:v>
                </c:pt>
                <c:pt idx="114">
                  <c:v>538</c:v>
                </c:pt>
                <c:pt idx="115">
                  <c:v>506</c:v>
                </c:pt>
                <c:pt idx="116">
                  <c:v>452</c:v>
                </c:pt>
                <c:pt idx="117">
                  <c:v>222</c:v>
                </c:pt>
                <c:pt idx="118">
                  <c:v>112</c:v>
                </c:pt>
                <c:pt idx="119">
                  <c:v>511</c:v>
                </c:pt>
                <c:pt idx="120">
                  <c:v>478</c:v>
                </c:pt>
                <c:pt idx="121">
                  <c:v>349</c:v>
                </c:pt>
                <c:pt idx="122">
                  <c:v>423</c:v>
                </c:pt>
                <c:pt idx="123">
                  <c:v>319</c:v>
                </c:pt>
                <c:pt idx="124">
                  <c:v>152</c:v>
                </c:pt>
                <c:pt idx="125">
                  <c:v>96</c:v>
                </c:pt>
                <c:pt idx="126">
                  <c:v>294</c:v>
                </c:pt>
                <c:pt idx="127">
                  <c:v>384</c:v>
                </c:pt>
                <c:pt idx="128">
                  <c:v>250</c:v>
                </c:pt>
                <c:pt idx="129">
                  <c:v>190</c:v>
                </c:pt>
                <c:pt idx="130">
                  <c:v>179</c:v>
                </c:pt>
                <c:pt idx="131">
                  <c:v>73</c:v>
                </c:pt>
                <c:pt idx="132">
                  <c:v>41</c:v>
                </c:pt>
                <c:pt idx="133">
                  <c:v>175</c:v>
                </c:pt>
                <c:pt idx="134">
                  <c:v>206</c:v>
                </c:pt>
                <c:pt idx="135">
                  <c:v>128</c:v>
                </c:pt>
                <c:pt idx="136">
                  <c:v>157</c:v>
                </c:pt>
                <c:pt idx="137">
                  <c:v>141</c:v>
                </c:pt>
                <c:pt idx="138">
                  <c:v>63</c:v>
                </c:pt>
                <c:pt idx="139">
                  <c:v>57</c:v>
                </c:pt>
                <c:pt idx="140">
                  <c:v>118</c:v>
                </c:pt>
                <c:pt idx="141">
                  <c:v>112</c:v>
                </c:pt>
                <c:pt idx="142">
                  <c:v>108</c:v>
                </c:pt>
                <c:pt idx="143">
                  <c:v>97</c:v>
                </c:pt>
                <c:pt idx="144">
                  <c:v>137</c:v>
                </c:pt>
                <c:pt idx="145">
                  <c:v>68</c:v>
                </c:pt>
                <c:pt idx="146">
                  <c:v>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C$155:$C$322</c:f>
              <c:numCache>
                <c:formatCode>General</c:formatCode>
                <c:ptCount val="16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14A-45E8-87A1-7BD2345ADB4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70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D$155:$D$322</c:f>
              <c:numCache>
                <c:formatCode>General</c:formatCode>
                <c:ptCount val="168"/>
                <c:pt idx="120" formatCode="#,##0">
                  <c:v>335</c:v>
                </c:pt>
                <c:pt idx="121" formatCode="#,##0">
                  <c:v>317</c:v>
                </c:pt>
                <c:pt idx="122" formatCode="#,##0">
                  <c:v>298</c:v>
                </c:pt>
                <c:pt idx="123" formatCode="#,##0">
                  <c:v>280</c:v>
                </c:pt>
                <c:pt idx="124" formatCode="#,##0">
                  <c:v>265</c:v>
                </c:pt>
                <c:pt idx="125" formatCode="#,##0">
                  <c:v>250</c:v>
                </c:pt>
                <c:pt idx="126" formatCode="#,##0">
                  <c:v>236</c:v>
                </c:pt>
                <c:pt idx="127" formatCode="#,##0">
                  <c:v>224</c:v>
                </c:pt>
                <c:pt idx="128" formatCode="#,##0">
                  <c:v>212</c:v>
                </c:pt>
                <c:pt idx="129" formatCode="#,##0">
                  <c:v>200</c:v>
                </c:pt>
                <c:pt idx="130" formatCode="#,##0">
                  <c:v>189</c:v>
                </c:pt>
                <c:pt idx="131" formatCode="#,##0">
                  <c:v>180</c:v>
                </c:pt>
                <c:pt idx="132" formatCode="#,##0">
                  <c:v>170</c:v>
                </c:pt>
                <c:pt idx="133" formatCode="#,##0">
                  <c:v>162</c:v>
                </c:pt>
                <c:pt idx="134" formatCode="#,##0">
                  <c:v>153</c:v>
                </c:pt>
                <c:pt idx="135" formatCode="#,##0">
                  <c:v>146</c:v>
                </c:pt>
                <c:pt idx="136" formatCode="#,##0">
                  <c:v>138</c:v>
                </c:pt>
                <c:pt idx="137" formatCode="#,##0">
                  <c:v>131</c:v>
                </c:pt>
                <c:pt idx="138" formatCode="#,##0">
                  <c:v>126</c:v>
                </c:pt>
                <c:pt idx="139" formatCode="#,##0">
                  <c:v>120</c:v>
                </c:pt>
                <c:pt idx="140" formatCode="#,##0">
                  <c:v>114</c:v>
                </c:pt>
                <c:pt idx="141" formatCode="#,##0">
                  <c:v>109</c:v>
                </c:pt>
                <c:pt idx="142" formatCode="#,##0">
                  <c:v>104</c:v>
                </c:pt>
                <c:pt idx="143" formatCode="#,##0">
                  <c:v>99</c:v>
                </c:pt>
                <c:pt idx="144" formatCode="#,##0">
                  <c:v>95</c:v>
                </c:pt>
                <c:pt idx="145" formatCode="#,##0">
                  <c:v>91</c:v>
                </c:pt>
                <c:pt idx="146" formatCode="#,##0">
                  <c:v>87</c:v>
                </c:pt>
                <c:pt idx="147" formatCode="#,##0">
                  <c:v>83</c:v>
                </c:pt>
                <c:pt idx="148" formatCode="#,##0">
                  <c:v>81</c:v>
                </c:pt>
                <c:pt idx="149" formatCode="#,##0">
                  <c:v>77</c:v>
                </c:pt>
                <c:pt idx="150" formatCode="#,##0">
                  <c:v>74</c:v>
                </c:pt>
                <c:pt idx="151" formatCode="#,##0">
                  <c:v>71</c:v>
                </c:pt>
                <c:pt idx="152" formatCode="#,##0">
                  <c:v>69</c:v>
                </c:pt>
                <c:pt idx="153" formatCode="#,##0">
                  <c:v>66</c:v>
                </c:pt>
                <c:pt idx="154" formatCode="#,##0">
                  <c:v>64</c:v>
                </c:pt>
                <c:pt idx="155" formatCode="#,##0">
                  <c:v>62</c:v>
                </c:pt>
                <c:pt idx="156" formatCode="#,##0">
                  <c:v>61</c:v>
                </c:pt>
                <c:pt idx="157" formatCode="#,##0">
                  <c:v>58</c:v>
                </c:pt>
                <c:pt idx="158" formatCode="#,##0">
                  <c:v>57</c:v>
                </c:pt>
                <c:pt idx="159" formatCode="#,##0">
                  <c:v>55</c:v>
                </c:pt>
                <c:pt idx="160" formatCode="#,##0">
                  <c:v>53</c:v>
                </c:pt>
                <c:pt idx="161" formatCode="#,##0">
                  <c:v>52</c:v>
                </c:pt>
                <c:pt idx="162" formatCode="#,##0">
                  <c:v>50</c:v>
                </c:pt>
                <c:pt idx="163" formatCode="#,##0">
                  <c:v>50</c:v>
                </c:pt>
                <c:pt idx="164" formatCode="#,##0">
                  <c:v>48</c:v>
                </c:pt>
                <c:pt idx="165" formatCode="#,##0">
                  <c:v>47</c:v>
                </c:pt>
                <c:pt idx="166" formatCode="#,##0">
                  <c:v>45</c:v>
                </c:pt>
                <c:pt idx="167" formatCode="#,##0">
                  <c:v>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14A-45E8-87A1-7BD2345ADB46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0,90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F$155:$F$322</c:f>
              <c:numCache>
                <c:formatCode>General</c:formatCode>
                <c:ptCount val="168"/>
                <c:pt idx="120" formatCode="#,##0">
                  <c:v>371</c:v>
                </c:pt>
                <c:pt idx="121" formatCode="#,##0">
                  <c:v>371</c:v>
                </c:pt>
                <c:pt idx="122" formatCode="#,##0">
                  <c:v>361</c:v>
                </c:pt>
                <c:pt idx="123" formatCode="#,##0">
                  <c:v>347</c:v>
                </c:pt>
                <c:pt idx="124" formatCode="#,##0">
                  <c:v>339</c:v>
                </c:pt>
                <c:pt idx="125" formatCode="#,##0">
                  <c:v>335</c:v>
                </c:pt>
                <c:pt idx="126" formatCode="#,##0">
                  <c:v>334</c:v>
                </c:pt>
                <c:pt idx="127" formatCode="#,##0">
                  <c:v>333</c:v>
                </c:pt>
                <c:pt idx="128" formatCode="#,##0">
                  <c:v>327</c:v>
                </c:pt>
                <c:pt idx="129" formatCode="#,##0">
                  <c:v>320</c:v>
                </c:pt>
                <c:pt idx="130" formatCode="#,##0">
                  <c:v>313</c:v>
                </c:pt>
                <c:pt idx="131" formatCode="#,##0">
                  <c:v>311</c:v>
                </c:pt>
                <c:pt idx="132" formatCode="#,##0">
                  <c:v>308</c:v>
                </c:pt>
                <c:pt idx="133" formatCode="#,##0">
                  <c:v>305</c:v>
                </c:pt>
                <c:pt idx="134" formatCode="#,##0">
                  <c:v>300</c:v>
                </c:pt>
                <c:pt idx="135" formatCode="#,##0">
                  <c:v>295</c:v>
                </c:pt>
                <c:pt idx="136" formatCode="#,##0">
                  <c:v>290</c:v>
                </c:pt>
                <c:pt idx="137" formatCode="#,##0">
                  <c:v>287</c:v>
                </c:pt>
                <c:pt idx="138" formatCode="#,##0">
                  <c:v>284</c:v>
                </c:pt>
                <c:pt idx="139" formatCode="#,##0">
                  <c:v>280</c:v>
                </c:pt>
                <c:pt idx="140" formatCode="#,##0">
                  <c:v>277</c:v>
                </c:pt>
                <c:pt idx="141" formatCode="#,##0">
                  <c:v>273</c:v>
                </c:pt>
                <c:pt idx="142" formatCode="#,##0">
                  <c:v>269</c:v>
                </c:pt>
                <c:pt idx="143" formatCode="#,##0">
                  <c:v>266</c:v>
                </c:pt>
                <c:pt idx="144" formatCode="#,##0">
                  <c:v>263</c:v>
                </c:pt>
                <c:pt idx="145" formatCode="#,##0">
                  <c:v>260</c:v>
                </c:pt>
                <c:pt idx="146" formatCode="#,##0">
                  <c:v>256</c:v>
                </c:pt>
                <c:pt idx="147" formatCode="#,##0">
                  <c:v>253</c:v>
                </c:pt>
                <c:pt idx="148" formatCode="#,##0">
                  <c:v>250</c:v>
                </c:pt>
                <c:pt idx="149" formatCode="#,##0">
                  <c:v>247</c:v>
                </c:pt>
                <c:pt idx="150" formatCode="#,##0">
                  <c:v>244</c:v>
                </c:pt>
                <c:pt idx="151" formatCode="#,##0">
                  <c:v>241</c:v>
                </c:pt>
                <c:pt idx="152" formatCode="#,##0">
                  <c:v>238</c:v>
                </c:pt>
                <c:pt idx="153" formatCode="#,##0">
                  <c:v>235</c:v>
                </c:pt>
                <c:pt idx="154" formatCode="#,##0">
                  <c:v>233</c:v>
                </c:pt>
                <c:pt idx="155" formatCode="#,##0">
                  <c:v>230</c:v>
                </c:pt>
                <c:pt idx="156" formatCode="#,##0">
                  <c:v>227</c:v>
                </c:pt>
                <c:pt idx="157" formatCode="#,##0">
                  <c:v>225</c:v>
                </c:pt>
                <c:pt idx="158" formatCode="#,##0">
                  <c:v>222</c:v>
                </c:pt>
                <c:pt idx="159" formatCode="#,##0">
                  <c:v>220</c:v>
                </c:pt>
                <c:pt idx="160" formatCode="#,##0">
                  <c:v>217</c:v>
                </c:pt>
                <c:pt idx="161" formatCode="#,##0">
                  <c:v>215</c:v>
                </c:pt>
                <c:pt idx="162" formatCode="#,##0">
                  <c:v>212</c:v>
                </c:pt>
                <c:pt idx="163" formatCode="#,##0">
                  <c:v>210</c:v>
                </c:pt>
                <c:pt idx="164" formatCode="#,##0">
                  <c:v>208</c:v>
                </c:pt>
                <c:pt idx="165" formatCode="#,##0">
                  <c:v>205</c:v>
                </c:pt>
                <c:pt idx="166" formatCode="#,##0">
                  <c:v>204</c:v>
                </c:pt>
                <c:pt idx="167" formatCode="#,##0">
                  <c:v>2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14A-45E8-87A1-7BD2345ADB46}"/>
            </c:ext>
          </c:extLst>
        </c:ser>
        <c:ser>
          <c:idx val="5"/>
          <c:order val="4"/>
          <c:tx>
            <c:strRef>
              <c:f>Sheet1!$G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G$155:$G$322</c:f>
              <c:numCache>
                <c:formatCode>General</c:formatCode>
                <c:ptCount val="168"/>
                <c:pt idx="120" formatCode="#,##0">
                  <c:v>407</c:v>
                </c:pt>
                <c:pt idx="121" formatCode="#,##0">
                  <c:v>426</c:v>
                </c:pt>
                <c:pt idx="122" formatCode="#,##0">
                  <c:v>424</c:v>
                </c:pt>
                <c:pt idx="123" formatCode="#,##0">
                  <c:v>413</c:v>
                </c:pt>
                <c:pt idx="124" formatCode="#,##0">
                  <c:v>417</c:v>
                </c:pt>
                <c:pt idx="125" formatCode="#,##0">
                  <c:v>429</c:v>
                </c:pt>
                <c:pt idx="126" formatCode="#,##0">
                  <c:v>447</c:v>
                </c:pt>
                <c:pt idx="127" formatCode="#,##0">
                  <c:v>465</c:v>
                </c:pt>
                <c:pt idx="128" formatCode="#,##0">
                  <c:v>469</c:v>
                </c:pt>
                <c:pt idx="129" formatCode="#,##0">
                  <c:v>471</c:v>
                </c:pt>
                <c:pt idx="130" formatCode="#,##0">
                  <c:v>477</c:v>
                </c:pt>
                <c:pt idx="131" formatCode="#,##0">
                  <c:v>492</c:v>
                </c:pt>
                <c:pt idx="132" formatCode="#,##0">
                  <c:v>507</c:v>
                </c:pt>
                <c:pt idx="133" formatCode="#,##0">
                  <c:v>518</c:v>
                </c:pt>
                <c:pt idx="134" formatCode="#,##0">
                  <c:v>527</c:v>
                </c:pt>
                <c:pt idx="135" formatCode="#,##0">
                  <c:v>534</c:v>
                </c:pt>
                <c:pt idx="136" formatCode="#,##0">
                  <c:v>545</c:v>
                </c:pt>
                <c:pt idx="137" formatCode="#,##0">
                  <c:v>558</c:v>
                </c:pt>
                <c:pt idx="138" formatCode="#,##0">
                  <c:v>571</c:v>
                </c:pt>
                <c:pt idx="139" formatCode="#,##0">
                  <c:v>583</c:v>
                </c:pt>
                <c:pt idx="140" formatCode="#,##0">
                  <c:v>593</c:v>
                </c:pt>
                <c:pt idx="141" formatCode="#,##0">
                  <c:v>603</c:v>
                </c:pt>
                <c:pt idx="142" formatCode="#,##0">
                  <c:v>616</c:v>
                </c:pt>
                <c:pt idx="143" formatCode="#,##0">
                  <c:v>630</c:v>
                </c:pt>
                <c:pt idx="144" formatCode="#,##0">
                  <c:v>643</c:v>
                </c:pt>
                <c:pt idx="145" formatCode="#,##0">
                  <c:v>655</c:v>
                </c:pt>
                <c:pt idx="146" formatCode="#,##0">
                  <c:v>668</c:v>
                </c:pt>
                <c:pt idx="147" formatCode="#,##0">
                  <c:v>681</c:v>
                </c:pt>
                <c:pt idx="148" formatCode="#,##0">
                  <c:v>694</c:v>
                </c:pt>
                <c:pt idx="149" formatCode="#,##0">
                  <c:v>709</c:v>
                </c:pt>
                <c:pt idx="150" formatCode="#,##0">
                  <c:v>722</c:v>
                </c:pt>
                <c:pt idx="151" formatCode="#,##0">
                  <c:v>737</c:v>
                </c:pt>
                <c:pt idx="152" formatCode="#,##0">
                  <c:v>751</c:v>
                </c:pt>
                <c:pt idx="153" formatCode="#,##0">
                  <c:v>766</c:v>
                </c:pt>
                <c:pt idx="154" formatCode="#,##0">
                  <c:v>781</c:v>
                </c:pt>
                <c:pt idx="155" formatCode="#,##0">
                  <c:v>797</c:v>
                </c:pt>
                <c:pt idx="156" formatCode="#,##0">
                  <c:v>812</c:v>
                </c:pt>
                <c:pt idx="157" formatCode="#,##0">
                  <c:v>828</c:v>
                </c:pt>
                <c:pt idx="158" formatCode="#,##0">
                  <c:v>843</c:v>
                </c:pt>
                <c:pt idx="159" formatCode="#,##0">
                  <c:v>860</c:v>
                </c:pt>
                <c:pt idx="160" formatCode="#,##0">
                  <c:v>877</c:v>
                </c:pt>
                <c:pt idx="161" formatCode="#,##0">
                  <c:v>893</c:v>
                </c:pt>
                <c:pt idx="162" formatCode="#,##0">
                  <c:v>911</c:v>
                </c:pt>
                <c:pt idx="163" formatCode="#,##0">
                  <c:v>929</c:v>
                </c:pt>
                <c:pt idx="164" formatCode="#,##0">
                  <c:v>946</c:v>
                </c:pt>
                <c:pt idx="165" formatCode="#,##0">
                  <c:v>964</c:v>
                </c:pt>
                <c:pt idx="166" formatCode="#,##0">
                  <c:v>983</c:v>
                </c:pt>
                <c:pt idx="167" formatCode="#,##0">
                  <c:v>1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31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3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5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5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H$2:$H$169</c:f>
              <c:numCache>
                <c:formatCode>0</c:formatCode>
                <c:ptCount val="168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  <c:pt idx="126">
                  <c:v>100</c:v>
                </c:pt>
                <c:pt idx="127">
                  <c:v>100</c:v>
                </c:pt>
                <c:pt idx="128">
                  <c:v>100</c:v>
                </c:pt>
                <c:pt idx="129">
                  <c:v>100</c:v>
                </c:pt>
                <c:pt idx="130">
                  <c:v>100</c:v>
                </c:pt>
                <c:pt idx="131">
                  <c:v>100</c:v>
                </c:pt>
                <c:pt idx="132">
                  <c:v>100</c:v>
                </c:pt>
                <c:pt idx="133">
                  <c:v>100</c:v>
                </c:pt>
                <c:pt idx="134">
                  <c:v>100</c:v>
                </c:pt>
                <c:pt idx="135">
                  <c:v>100</c:v>
                </c:pt>
                <c:pt idx="136">
                  <c:v>100</c:v>
                </c:pt>
                <c:pt idx="137">
                  <c:v>100</c:v>
                </c:pt>
                <c:pt idx="138">
                  <c:v>100</c:v>
                </c:pt>
                <c:pt idx="139">
                  <c:v>100</c:v>
                </c:pt>
                <c:pt idx="140">
                  <c:v>100</c:v>
                </c:pt>
                <c:pt idx="141">
                  <c:v>100</c:v>
                </c:pt>
                <c:pt idx="142">
                  <c:v>100</c:v>
                </c:pt>
                <c:pt idx="143">
                  <c:v>100</c:v>
                </c:pt>
                <c:pt idx="144">
                  <c:v>100</c:v>
                </c:pt>
                <c:pt idx="145">
                  <c:v>100</c:v>
                </c:pt>
                <c:pt idx="146">
                  <c:v>100</c:v>
                </c:pt>
                <c:pt idx="147">
                  <c:v>100</c:v>
                </c:pt>
                <c:pt idx="148">
                  <c:v>100</c:v>
                </c:pt>
                <c:pt idx="149">
                  <c:v>100</c:v>
                </c:pt>
                <c:pt idx="150">
                  <c:v>100</c:v>
                </c:pt>
                <c:pt idx="151">
                  <c:v>100</c:v>
                </c:pt>
                <c:pt idx="152">
                  <c:v>100</c:v>
                </c:pt>
                <c:pt idx="153">
                  <c:v>100</c:v>
                </c:pt>
                <c:pt idx="154">
                  <c:v>100</c:v>
                </c:pt>
                <c:pt idx="155">
                  <c:v>100</c:v>
                </c:pt>
                <c:pt idx="156">
                  <c:v>100</c:v>
                </c:pt>
                <c:pt idx="157">
                  <c:v>100</c:v>
                </c:pt>
                <c:pt idx="158">
                  <c:v>100</c:v>
                </c:pt>
                <c:pt idx="159">
                  <c:v>100</c:v>
                </c:pt>
                <c:pt idx="160">
                  <c:v>100</c:v>
                </c:pt>
                <c:pt idx="161">
                  <c:v>100</c:v>
                </c:pt>
                <c:pt idx="162">
                  <c:v>100</c:v>
                </c:pt>
                <c:pt idx="163">
                  <c:v>100</c:v>
                </c:pt>
                <c:pt idx="164">
                  <c:v>100</c:v>
                </c:pt>
                <c:pt idx="165">
                  <c:v>100</c:v>
                </c:pt>
                <c:pt idx="166">
                  <c:v>100</c:v>
                </c:pt>
                <c:pt idx="167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EF5-483F-B422-4E0629062509}"/>
            </c:ext>
          </c:extLst>
        </c:ser>
        <c:ser>
          <c:idx val="7"/>
          <c:order val="6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rgbClr val="C2FFDF"/>
            </a:solidFill>
            <a:ln>
              <a:noFill/>
            </a:ln>
            <a:effectLst/>
          </c:spP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I$2:$I$169</c:f>
              <c:numCache>
                <c:formatCode>0</c:formatCode>
                <c:ptCount val="168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  <c:pt idx="79">
                  <c:v>50</c:v>
                </c:pt>
                <c:pt idx="80">
                  <c:v>50</c:v>
                </c:pt>
                <c:pt idx="81">
                  <c:v>50</c:v>
                </c:pt>
                <c:pt idx="82">
                  <c:v>50</c:v>
                </c:pt>
                <c:pt idx="83">
                  <c:v>50</c:v>
                </c:pt>
                <c:pt idx="84">
                  <c:v>50</c:v>
                </c:pt>
                <c:pt idx="85">
                  <c:v>50</c:v>
                </c:pt>
                <c:pt idx="86">
                  <c:v>50</c:v>
                </c:pt>
                <c:pt idx="87">
                  <c:v>50</c:v>
                </c:pt>
                <c:pt idx="88">
                  <c:v>50</c:v>
                </c:pt>
                <c:pt idx="89">
                  <c:v>50</c:v>
                </c:pt>
                <c:pt idx="90">
                  <c:v>50</c:v>
                </c:pt>
                <c:pt idx="91">
                  <c:v>50</c:v>
                </c:pt>
                <c:pt idx="92">
                  <c:v>50</c:v>
                </c:pt>
                <c:pt idx="93">
                  <c:v>50</c:v>
                </c:pt>
                <c:pt idx="94">
                  <c:v>50</c:v>
                </c:pt>
                <c:pt idx="95">
                  <c:v>50</c:v>
                </c:pt>
                <c:pt idx="96">
                  <c:v>50</c:v>
                </c:pt>
                <c:pt idx="97">
                  <c:v>50</c:v>
                </c:pt>
                <c:pt idx="98">
                  <c:v>50</c:v>
                </c:pt>
                <c:pt idx="99">
                  <c:v>50</c:v>
                </c:pt>
                <c:pt idx="100">
                  <c:v>50</c:v>
                </c:pt>
                <c:pt idx="101">
                  <c:v>50</c:v>
                </c:pt>
                <c:pt idx="102">
                  <c:v>50</c:v>
                </c:pt>
                <c:pt idx="103">
                  <c:v>50</c:v>
                </c:pt>
                <c:pt idx="104">
                  <c:v>50</c:v>
                </c:pt>
                <c:pt idx="105">
                  <c:v>50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  <c:pt idx="110">
                  <c:v>50</c:v>
                </c:pt>
                <c:pt idx="111">
                  <c:v>50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0</c:v>
                </c:pt>
                <c:pt idx="122">
                  <c:v>50</c:v>
                </c:pt>
                <c:pt idx="123">
                  <c:v>50</c:v>
                </c:pt>
                <c:pt idx="124">
                  <c:v>50</c:v>
                </c:pt>
                <c:pt idx="125">
                  <c:v>50</c:v>
                </c:pt>
                <c:pt idx="126">
                  <c:v>50</c:v>
                </c:pt>
                <c:pt idx="127">
                  <c:v>50</c:v>
                </c:pt>
                <c:pt idx="128">
                  <c:v>50</c:v>
                </c:pt>
                <c:pt idx="129">
                  <c:v>50</c:v>
                </c:pt>
                <c:pt idx="130">
                  <c:v>50</c:v>
                </c:pt>
                <c:pt idx="131">
                  <c:v>50</c:v>
                </c:pt>
                <c:pt idx="132">
                  <c:v>50</c:v>
                </c:pt>
                <c:pt idx="133">
                  <c:v>50</c:v>
                </c:pt>
                <c:pt idx="134">
                  <c:v>50</c:v>
                </c:pt>
                <c:pt idx="135">
                  <c:v>50</c:v>
                </c:pt>
                <c:pt idx="136">
                  <c:v>50</c:v>
                </c:pt>
                <c:pt idx="137">
                  <c:v>50</c:v>
                </c:pt>
                <c:pt idx="138">
                  <c:v>50</c:v>
                </c:pt>
                <c:pt idx="139">
                  <c:v>50</c:v>
                </c:pt>
                <c:pt idx="140">
                  <c:v>50</c:v>
                </c:pt>
                <c:pt idx="141">
                  <c:v>50</c:v>
                </c:pt>
                <c:pt idx="142">
                  <c:v>50</c:v>
                </c:pt>
                <c:pt idx="143">
                  <c:v>50</c:v>
                </c:pt>
                <c:pt idx="144">
                  <c:v>50</c:v>
                </c:pt>
                <c:pt idx="145">
                  <c:v>50</c:v>
                </c:pt>
                <c:pt idx="146">
                  <c:v>50</c:v>
                </c:pt>
                <c:pt idx="147">
                  <c:v>50</c:v>
                </c:pt>
                <c:pt idx="148">
                  <c:v>50</c:v>
                </c:pt>
                <c:pt idx="149">
                  <c:v>50</c:v>
                </c:pt>
                <c:pt idx="150">
                  <c:v>50</c:v>
                </c:pt>
                <c:pt idx="151">
                  <c:v>50</c:v>
                </c:pt>
                <c:pt idx="152">
                  <c:v>50</c:v>
                </c:pt>
                <c:pt idx="153">
                  <c:v>50</c:v>
                </c:pt>
                <c:pt idx="154">
                  <c:v>50</c:v>
                </c:pt>
                <c:pt idx="155">
                  <c:v>50</c:v>
                </c:pt>
                <c:pt idx="156">
                  <c:v>50</c:v>
                </c:pt>
                <c:pt idx="157">
                  <c:v>50</c:v>
                </c:pt>
                <c:pt idx="158">
                  <c:v>50</c:v>
                </c:pt>
                <c:pt idx="159">
                  <c:v>50</c:v>
                </c:pt>
                <c:pt idx="160">
                  <c:v>50</c:v>
                </c:pt>
                <c:pt idx="161">
                  <c:v>50</c:v>
                </c:pt>
                <c:pt idx="162">
                  <c:v>50</c:v>
                </c:pt>
                <c:pt idx="163">
                  <c:v>50</c:v>
                </c:pt>
                <c:pt idx="164">
                  <c:v>50</c:v>
                </c:pt>
                <c:pt idx="165">
                  <c:v>50</c:v>
                </c:pt>
                <c:pt idx="166">
                  <c:v>50</c:v>
                </c:pt>
                <c:pt idx="167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EF5-483F-B422-4E06290625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B$2:$B$169</c:f>
              <c:numCache>
                <c:formatCode>0</c:formatCode>
                <c:ptCount val="168"/>
                <c:pt idx="0">
                  <c:v>516.20784344910078</c:v>
                </c:pt>
                <c:pt idx="1">
                  <c:v>546.8317764757436</c:v>
                </c:pt>
                <c:pt idx="2">
                  <c:v>568.82686649487937</c:v>
                </c:pt>
                <c:pt idx="3">
                  <c:v>611.80188853226764</c:v>
                </c:pt>
                <c:pt idx="4">
                  <c:v>627.36764454580975</c:v>
                </c:pt>
                <c:pt idx="5">
                  <c:v>641.57985655817447</c:v>
                </c:pt>
                <c:pt idx="6">
                  <c:v>635.99648755331691</c:v>
                </c:pt>
                <c:pt idx="7">
                  <c:v>654.26933156921427</c:v>
                </c:pt>
                <c:pt idx="8">
                  <c:v>688.6155105990955</c:v>
                </c:pt>
                <c:pt idx="9">
                  <c:v>674.91087758717242</c:v>
                </c:pt>
                <c:pt idx="10">
                  <c:v>679.81747459144128</c:v>
                </c:pt>
                <c:pt idx="11">
                  <c:v>696.22919560571938</c:v>
                </c:pt>
                <c:pt idx="12">
                  <c:v>713.48688162073358</c:v>
                </c:pt>
                <c:pt idx="13">
                  <c:v>723.30007562927108</c:v>
                </c:pt>
                <c:pt idx="14">
                  <c:v>752.23207865444192</c:v>
                </c:pt>
                <c:pt idx="15">
                  <c:v>797.57580269389086</c:v>
                </c:pt>
                <c:pt idx="16">
                  <c:v>856.96254574555746</c:v>
                </c:pt>
                <c:pt idx="17">
                  <c:v>907.88963878986397</c:v>
                </c:pt>
                <c:pt idx="18">
                  <c:v>965.4152588399113</c:v>
                </c:pt>
                <c:pt idx="19">
                  <c:v>992.99371786390464</c:v>
                </c:pt>
                <c:pt idx="20">
                  <c:v>1011.4357548799491</c:v>
                </c:pt>
                <c:pt idx="21">
                  <c:v>1043.4132319077696</c:v>
                </c:pt>
                <c:pt idx="22">
                  <c:v>1114.9818709700342</c:v>
                </c:pt>
                <c:pt idx="23">
                  <c:v>1183.6742290297966</c:v>
                </c:pt>
                <c:pt idx="24">
                  <c:v>1214.8057410568811</c:v>
                </c:pt>
                <c:pt idx="25">
                  <c:v>1271.1470101058981</c:v>
                </c:pt>
                <c:pt idx="26">
                  <c:v>1274.7000631089891</c:v>
                </c:pt>
                <c:pt idx="27">
                  <c:v>1265.5636411010405</c:v>
                </c:pt>
                <c:pt idx="28">
                  <c:v>1270.3010451051618</c:v>
                </c:pt>
                <c:pt idx="29">
                  <c:v>1278.4223091122274</c:v>
                </c:pt>
                <c:pt idx="30">
                  <c:v>1248.8135340864678</c:v>
                </c:pt>
                <c:pt idx="31">
                  <c:v>1229.3563390695399</c:v>
                </c:pt>
                <c:pt idx="32">
                  <c:v>1183.3358430295023</c:v>
                </c:pt>
                <c:pt idx="33">
                  <c:v>1174.7070000219951</c:v>
                </c:pt>
                <c:pt idx="34">
                  <c:v>1169.1236310171375</c:v>
                </c:pt>
                <c:pt idx="35">
                  <c:v>1133.2547149859315</c:v>
                </c:pt>
                <c:pt idx="36">
                  <c:v>1094.3403249520761</c:v>
                </c:pt>
                <c:pt idx="37">
                  <c:v>1087.5726049461882</c:v>
                </c:pt>
                <c:pt idx="38">
                  <c:v>1028.8626338951105</c:v>
                </c:pt>
                <c:pt idx="39">
                  <c:v>998.06950786832056</c:v>
                </c:pt>
                <c:pt idx="40">
                  <c:v>964.23090783888097</c:v>
                </c:pt>
                <c:pt idx="41">
                  <c:v>988.25631385978295</c:v>
                </c:pt>
                <c:pt idx="42">
                  <c:v>967.27638184153056</c:v>
                </c:pt>
                <c:pt idx="43">
                  <c:v>917.87202579854863</c:v>
                </c:pt>
                <c:pt idx="44">
                  <c:v>844.94984273510636</c:v>
                </c:pt>
                <c:pt idx="45">
                  <c:v>820.41685771376274</c:v>
                </c:pt>
                <c:pt idx="46">
                  <c:v>747.8330606506147</c:v>
                </c:pt>
                <c:pt idx="47">
                  <c:v>739.88098964369647</c:v>
                </c:pt>
                <c:pt idx="48">
                  <c:v>712.47172361985042</c:v>
                </c:pt>
                <c:pt idx="49">
                  <c:v>679.98666759158834</c:v>
                </c:pt>
                <c:pt idx="50">
                  <c:v>590.99114951416232</c:v>
                </c:pt>
                <c:pt idx="51">
                  <c:v>551.23079447957082</c:v>
                </c:pt>
                <c:pt idx="52">
                  <c:v>499.79612243482262</c:v>
                </c:pt>
                <c:pt idx="53">
                  <c:v>472.8944354114181</c:v>
                </c:pt>
                <c:pt idx="54">
                  <c:v>459.69738139993672</c:v>
                </c:pt>
                <c:pt idx="55">
                  <c:v>447.8538713896329</c:v>
                </c:pt>
                <c:pt idx="56">
                  <c:v>425.35120237005555</c:v>
                </c:pt>
                <c:pt idx="57">
                  <c:v>398.95709434709266</c:v>
                </c:pt>
                <c:pt idx="58">
                  <c:v>363.93414331662274</c:v>
                </c:pt>
                <c:pt idx="59">
                  <c:v>354.62852830852682</c:v>
                </c:pt>
                <c:pt idx="60">
                  <c:v>300.99434726186507</c:v>
                </c:pt>
                <c:pt idx="61">
                  <c:v>288.64325825111962</c:v>
                </c:pt>
                <c:pt idx="62">
                  <c:v>286.95132824964764</c:v>
                </c:pt>
                <c:pt idx="63">
                  <c:v>233.65553320328033</c:v>
                </c:pt>
                <c:pt idx="64">
                  <c:v>211.82963618429181</c:v>
                </c:pt>
                <c:pt idx="65">
                  <c:v>197.95581017222156</c:v>
                </c:pt>
                <c:pt idx="66">
                  <c:v>178.66780815544101</c:v>
                </c:pt>
                <c:pt idx="67">
                  <c:v>184.08198416015134</c:v>
                </c:pt>
                <c:pt idx="68">
                  <c:v>185.94310716177048</c:v>
                </c:pt>
                <c:pt idx="69">
                  <c:v>179.17538715588259</c:v>
                </c:pt>
                <c:pt idx="70">
                  <c:v>205.06191617840383</c:v>
                </c:pt>
                <c:pt idx="71">
                  <c:v>187.46584416309528</c:v>
                </c:pt>
                <c:pt idx="72">
                  <c:v>156.33433213601086</c:v>
                </c:pt>
                <c:pt idx="73">
                  <c:v>138.39987412040787</c:v>
                </c:pt>
                <c:pt idx="74">
                  <c:v>127.57152211098723</c:v>
                </c:pt>
                <c:pt idx="75">
                  <c:v>124.52604810833766</c:v>
                </c:pt>
                <c:pt idx="76">
                  <c:v>122.32653910642409</c:v>
                </c:pt>
                <c:pt idx="77">
                  <c:v>113.5285030987698</c:v>
                </c:pt>
                <c:pt idx="78">
                  <c:v>108.79109909464825</c:v>
                </c:pt>
                <c:pt idx="79">
                  <c:v>111.15980109670902</c:v>
                </c:pt>
                <c:pt idx="80">
                  <c:v>107.77594109376506</c:v>
                </c:pt>
                <c:pt idx="81">
                  <c:v>101.68499308846594</c:v>
                </c:pt>
                <c:pt idx="82">
                  <c:v>103.03853708964353</c:v>
                </c:pt>
                <c:pt idx="83">
                  <c:v>102.86934408949634</c:v>
                </c:pt>
                <c:pt idx="84">
                  <c:v>101.51580008831876</c:v>
                </c:pt>
                <c:pt idx="85">
                  <c:v>98.301133085521997</c:v>
                </c:pt>
                <c:pt idx="86">
                  <c:v>98.301133085521997</c:v>
                </c:pt>
                <c:pt idx="87">
                  <c:v>95.932431083461225</c:v>
                </c:pt>
                <c:pt idx="88">
                  <c:v>92.717764080664452</c:v>
                </c:pt>
                <c:pt idx="89">
                  <c:v>90.34906207860368</c:v>
                </c:pt>
                <c:pt idx="90">
                  <c:v>88.995518077426098</c:v>
                </c:pt>
                <c:pt idx="91">
                  <c:v>76.98281506697505</c:v>
                </c:pt>
                <c:pt idx="92">
                  <c:v>75.629271065797468</c:v>
                </c:pt>
                <c:pt idx="93">
                  <c:v>68.692358059762356</c:v>
                </c:pt>
                <c:pt idx="94">
                  <c:v>67.338814058584774</c:v>
                </c:pt>
                <c:pt idx="95">
                  <c:v>65.985270057407192</c:v>
                </c:pt>
                <c:pt idx="96">
                  <c:v>62.093831054021628</c:v>
                </c:pt>
                <c:pt idx="97">
                  <c:v>63.278182055052021</c:v>
                </c:pt>
                <c:pt idx="98">
                  <c:v>63.447375055199217</c:v>
                </c:pt>
                <c:pt idx="99">
                  <c:v>53.803374046808933</c:v>
                </c:pt>
                <c:pt idx="100">
                  <c:v>50.08112804357058</c:v>
                </c:pt>
                <c:pt idx="101">
                  <c:v>45.851303039890631</c:v>
                </c:pt>
                <c:pt idx="102">
                  <c:v>39.929548034738708</c:v>
                </c:pt>
                <c:pt idx="103">
                  <c:v>39.591162034444309</c:v>
                </c:pt>
                <c:pt idx="104">
                  <c:v>37.899232032972336</c:v>
                </c:pt>
                <c:pt idx="105">
                  <c:v>36.884074032089146</c:v>
                </c:pt>
                <c:pt idx="106">
                  <c:v>36.376495031647551</c:v>
                </c:pt>
                <c:pt idx="107">
                  <c:v>34.007793029586779</c:v>
                </c:pt>
                <c:pt idx="108">
                  <c:v>33.331021028997988</c:v>
                </c:pt>
                <c:pt idx="109">
                  <c:v>32.315863028114798</c:v>
                </c:pt>
                <c:pt idx="110">
                  <c:v>32.146670027967602</c:v>
                </c:pt>
                <c:pt idx="111">
                  <c:v>32.315863028114798</c:v>
                </c:pt>
                <c:pt idx="112">
                  <c:v>31.131512027084415</c:v>
                </c:pt>
                <c:pt idx="113">
                  <c:v>30.116354026201229</c:v>
                </c:pt>
                <c:pt idx="114">
                  <c:v>28.593617024876444</c:v>
                </c:pt>
                <c:pt idx="115">
                  <c:v>27.916845024287657</c:v>
                </c:pt>
                <c:pt idx="116">
                  <c:v>27.578459023993261</c:v>
                </c:pt>
                <c:pt idx="117">
                  <c:v>27.747652024140457</c:v>
                </c:pt>
                <c:pt idx="118">
                  <c:v>26.224915022815679</c:v>
                </c:pt>
                <c:pt idx="119">
                  <c:v>23.517827020460508</c:v>
                </c:pt>
                <c:pt idx="120">
                  <c:v>23.856213020754907</c:v>
                </c:pt>
                <c:pt idx="121">
                  <c:v>23.348634020313312</c:v>
                </c:pt>
                <c:pt idx="122">
                  <c:v>23.179441020166113</c:v>
                </c:pt>
                <c:pt idx="123">
                  <c:v>24.025406020902103</c:v>
                </c:pt>
                <c:pt idx="124">
                  <c:v>23.348634020313312</c:v>
                </c:pt>
                <c:pt idx="125">
                  <c:v>24.194599021049299</c:v>
                </c:pt>
                <c:pt idx="126">
                  <c:v>23.687020020607708</c:v>
                </c:pt>
                <c:pt idx="127">
                  <c:v>21.487511018694132</c:v>
                </c:pt>
                <c:pt idx="128">
                  <c:v>22.164283019282927</c:v>
                </c:pt>
                <c:pt idx="129">
                  <c:v>19.964774017369354</c:v>
                </c:pt>
                <c:pt idx="130">
                  <c:v>17.934458015602978</c:v>
                </c:pt>
                <c:pt idx="131">
                  <c:v>17.257686015014187</c:v>
                </c:pt>
                <c:pt idx="132">
                  <c:v>16.242528014131</c:v>
                </c:pt>
                <c:pt idx="133">
                  <c:v>14.212212012364626</c:v>
                </c:pt>
                <c:pt idx="134">
                  <c:v>12.858668011187042</c:v>
                </c:pt>
                <c:pt idx="135">
                  <c:v>10.320773008979073</c:v>
                </c:pt>
                <c:pt idx="136">
                  <c:v>9.4748080082430839</c:v>
                </c:pt>
                <c:pt idx="137">
                  <c:v>8.290457007212698</c:v>
                </c:pt>
                <c:pt idx="138">
                  <c:v>8.4596500073598957</c:v>
                </c:pt>
                <c:pt idx="139">
                  <c:v>8.4596500073598957</c:v>
                </c:pt>
                <c:pt idx="140">
                  <c:v>7.7828780067711039</c:v>
                </c:pt>
                <c:pt idx="141">
                  <c:v>5.2449830045631352</c:v>
                </c:pt>
                <c:pt idx="142">
                  <c:v>4.7374040041215419</c:v>
                </c:pt>
                <c:pt idx="143">
                  <c:v>4.0606320035327501</c:v>
                </c:pt>
                <c:pt idx="144">
                  <c:v>3.3838600029439583</c:v>
                </c:pt>
                <c:pt idx="145">
                  <c:v>3.2146670027967605</c:v>
                </c:pt>
                <c:pt idx="146">
                  <c:v>3.38386000294395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C$2:$C$169</c:f>
              <c:numCache>
                <c:formatCode>General</c:formatCode>
                <c:ptCount val="16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14A-45E8-87A1-7BD2345ADB4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75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D$2:$D$169</c:f>
              <c:numCache>
                <c:formatCode>General</c:formatCode>
                <c:ptCount val="168"/>
                <c:pt idx="119">
                  <c:v>24.410958486113724</c:v>
                </c:pt>
                <c:pt idx="120">
                  <c:v>22.885273580731617</c:v>
                </c:pt>
                <c:pt idx="121">
                  <c:v>21.529109220391966</c:v>
                </c:pt>
                <c:pt idx="122">
                  <c:v>20.172944860052315</c:v>
                </c:pt>
                <c:pt idx="123">
                  <c:v>18.98630104475512</c:v>
                </c:pt>
                <c:pt idx="124">
                  <c:v>17.799657229457925</c:v>
                </c:pt>
                <c:pt idx="125">
                  <c:v>16.782533959203185</c:v>
                </c:pt>
                <c:pt idx="126">
                  <c:v>15.765410688948448</c:v>
                </c:pt>
                <c:pt idx="127">
                  <c:v>14.917807963736164</c:v>
                </c:pt>
                <c:pt idx="128">
                  <c:v>14.070205238523885</c:v>
                </c:pt>
                <c:pt idx="129">
                  <c:v>13.222602513311601</c:v>
                </c:pt>
                <c:pt idx="130">
                  <c:v>12.544520333141774</c:v>
                </c:pt>
                <c:pt idx="131">
                  <c:v>11.86643815297195</c:v>
                </c:pt>
                <c:pt idx="132">
                  <c:v>11.188355972802125</c:v>
                </c:pt>
                <c:pt idx="133">
                  <c:v>10.679794337674755</c:v>
                </c:pt>
                <c:pt idx="134">
                  <c:v>10.001712157504929</c:v>
                </c:pt>
                <c:pt idx="135">
                  <c:v>9.4931505223775599</c:v>
                </c:pt>
                <c:pt idx="136">
                  <c:v>8.9845888872501902</c:v>
                </c:pt>
                <c:pt idx="137">
                  <c:v>8.4760272521228206</c:v>
                </c:pt>
                <c:pt idx="138">
                  <c:v>8.1369861620379069</c:v>
                </c:pt>
                <c:pt idx="139">
                  <c:v>7.7979450719529959</c:v>
                </c:pt>
                <c:pt idx="140">
                  <c:v>7.2893834368256254</c:v>
                </c:pt>
                <c:pt idx="141">
                  <c:v>6.9503423467407135</c:v>
                </c:pt>
                <c:pt idx="142">
                  <c:v>6.6113012566558007</c:v>
                </c:pt>
                <c:pt idx="143">
                  <c:v>6.4417807116133439</c:v>
                </c:pt>
                <c:pt idx="144">
                  <c:v>6.1027396215284311</c:v>
                </c:pt>
                <c:pt idx="145">
                  <c:v>5.7636985314435183</c:v>
                </c:pt>
                <c:pt idx="146">
                  <c:v>5.4246574413586055</c:v>
                </c:pt>
                <c:pt idx="147">
                  <c:v>5.2551368963161487</c:v>
                </c:pt>
                <c:pt idx="148">
                  <c:v>5.0856163512736927</c:v>
                </c:pt>
                <c:pt idx="149">
                  <c:v>4.9160958062312359</c:v>
                </c:pt>
                <c:pt idx="150">
                  <c:v>4.577054716146324</c:v>
                </c:pt>
                <c:pt idx="151">
                  <c:v>4.4075341711038671</c:v>
                </c:pt>
                <c:pt idx="152">
                  <c:v>4.2380136260614103</c:v>
                </c:pt>
                <c:pt idx="153">
                  <c:v>4.0684930810189535</c:v>
                </c:pt>
                <c:pt idx="154">
                  <c:v>3.898972535976498</c:v>
                </c:pt>
                <c:pt idx="155">
                  <c:v>3.7294519909340411</c:v>
                </c:pt>
                <c:pt idx="156">
                  <c:v>3.5599314458915847</c:v>
                </c:pt>
                <c:pt idx="157">
                  <c:v>3.5599314458915847</c:v>
                </c:pt>
                <c:pt idx="158">
                  <c:v>3.5599314458915847</c:v>
                </c:pt>
                <c:pt idx="159">
                  <c:v>3.5599314458915847</c:v>
                </c:pt>
                <c:pt idx="160">
                  <c:v>3.3904109008491288</c:v>
                </c:pt>
                <c:pt idx="161">
                  <c:v>3.2208903558066719</c:v>
                </c:pt>
                <c:pt idx="162">
                  <c:v>3.0513698107642155</c:v>
                </c:pt>
                <c:pt idx="163">
                  <c:v>2.8818492657217591</c:v>
                </c:pt>
                <c:pt idx="164">
                  <c:v>2.7123287206793028</c:v>
                </c:pt>
                <c:pt idx="165">
                  <c:v>2.5428081756368464</c:v>
                </c:pt>
                <c:pt idx="166">
                  <c:v>2.37328763059439</c:v>
                </c:pt>
                <c:pt idx="167">
                  <c:v>2.373287630594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14A-45E8-87A1-7BD2345ADB46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0,95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F$2:$F$169</c:f>
              <c:numCache>
                <c:formatCode>General</c:formatCode>
                <c:ptCount val="168"/>
                <c:pt idx="119">
                  <c:v>24.410958486113724</c:v>
                </c:pt>
                <c:pt idx="120">
                  <c:v>23.054794125774073</c:v>
                </c:pt>
                <c:pt idx="121">
                  <c:v>22.037670855519334</c:v>
                </c:pt>
                <c:pt idx="122">
                  <c:v>21.190068130307051</c:v>
                </c:pt>
                <c:pt idx="123">
                  <c:v>20.511985950137227</c:v>
                </c:pt>
                <c:pt idx="124">
                  <c:v>20.003424315009859</c:v>
                </c:pt>
                <c:pt idx="125">
                  <c:v>19.664383224924944</c:v>
                </c:pt>
                <c:pt idx="126">
                  <c:v>19.494862679882488</c:v>
                </c:pt>
                <c:pt idx="127">
                  <c:v>19.325342134840032</c:v>
                </c:pt>
                <c:pt idx="128">
                  <c:v>18.98630104475512</c:v>
                </c:pt>
                <c:pt idx="129">
                  <c:v>18.647259954670204</c:v>
                </c:pt>
                <c:pt idx="130">
                  <c:v>18.477739409627748</c:v>
                </c:pt>
                <c:pt idx="131">
                  <c:v>18.308218864585296</c:v>
                </c:pt>
                <c:pt idx="132">
                  <c:v>17.96917777450038</c:v>
                </c:pt>
                <c:pt idx="133">
                  <c:v>17.630136684415469</c:v>
                </c:pt>
                <c:pt idx="134">
                  <c:v>17.291095594330553</c:v>
                </c:pt>
                <c:pt idx="135">
                  <c:v>17.121575049288097</c:v>
                </c:pt>
                <c:pt idx="136">
                  <c:v>16.952054504245641</c:v>
                </c:pt>
                <c:pt idx="137">
                  <c:v>16.613013414160729</c:v>
                </c:pt>
                <c:pt idx="138">
                  <c:v>16.273972324075814</c:v>
                </c:pt>
                <c:pt idx="139">
                  <c:v>16.104451779033361</c:v>
                </c:pt>
                <c:pt idx="140">
                  <c:v>15.934931233990904</c:v>
                </c:pt>
                <c:pt idx="141">
                  <c:v>15.765410688948448</c:v>
                </c:pt>
                <c:pt idx="142">
                  <c:v>15.595890143905992</c:v>
                </c:pt>
                <c:pt idx="143">
                  <c:v>15.256849053821078</c:v>
                </c:pt>
                <c:pt idx="144">
                  <c:v>15.087328508778622</c:v>
                </c:pt>
                <c:pt idx="145">
                  <c:v>14.917807963736164</c:v>
                </c:pt>
                <c:pt idx="146">
                  <c:v>14.748287418693709</c:v>
                </c:pt>
                <c:pt idx="147">
                  <c:v>14.578766873651251</c:v>
                </c:pt>
                <c:pt idx="148">
                  <c:v>14.409246328608795</c:v>
                </c:pt>
                <c:pt idx="149">
                  <c:v>14.239725783566339</c:v>
                </c:pt>
                <c:pt idx="150">
                  <c:v>14.070205238523885</c:v>
                </c:pt>
                <c:pt idx="151">
                  <c:v>13.900684693481427</c:v>
                </c:pt>
                <c:pt idx="152">
                  <c:v>13.731164148438971</c:v>
                </c:pt>
                <c:pt idx="153">
                  <c:v>13.561643603396515</c:v>
                </c:pt>
                <c:pt idx="154">
                  <c:v>13.392123058354057</c:v>
                </c:pt>
                <c:pt idx="155">
                  <c:v>13.222602513311601</c:v>
                </c:pt>
                <c:pt idx="156">
                  <c:v>13.053081968269144</c:v>
                </c:pt>
                <c:pt idx="157">
                  <c:v>13.053081968269144</c:v>
                </c:pt>
                <c:pt idx="158">
                  <c:v>12.883561423226688</c:v>
                </c:pt>
                <c:pt idx="159">
                  <c:v>12.714040878184232</c:v>
                </c:pt>
                <c:pt idx="160">
                  <c:v>12.544520333141774</c:v>
                </c:pt>
                <c:pt idx="161">
                  <c:v>12.374999788099318</c:v>
                </c:pt>
                <c:pt idx="162">
                  <c:v>12.205479243056862</c:v>
                </c:pt>
                <c:pt idx="163">
                  <c:v>12.035958698014406</c:v>
                </c:pt>
                <c:pt idx="164">
                  <c:v>11.86643815297195</c:v>
                </c:pt>
                <c:pt idx="165">
                  <c:v>11.86643815297195</c:v>
                </c:pt>
                <c:pt idx="166">
                  <c:v>11.86643815297195</c:v>
                </c:pt>
                <c:pt idx="167">
                  <c:v>11.6969176079294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14A-45E8-87A1-7BD2345ADB46}"/>
            </c:ext>
          </c:extLst>
        </c:ser>
        <c:ser>
          <c:idx val="5"/>
          <c:order val="4"/>
          <c:tx>
            <c:strRef>
              <c:f>Sheet1!$G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G$2:$G$169</c:f>
              <c:numCache>
                <c:formatCode>General</c:formatCode>
                <c:ptCount val="168"/>
                <c:pt idx="119">
                  <c:v>24.410958486113724</c:v>
                </c:pt>
                <c:pt idx="120">
                  <c:v>23.393835215858985</c:v>
                </c:pt>
                <c:pt idx="121">
                  <c:v>22.885273580731617</c:v>
                </c:pt>
                <c:pt idx="122">
                  <c:v>22.546232490646705</c:v>
                </c:pt>
                <c:pt idx="123">
                  <c:v>22.376711945604249</c:v>
                </c:pt>
                <c:pt idx="124">
                  <c:v>22.546232490646705</c:v>
                </c:pt>
                <c:pt idx="125">
                  <c:v>22.885273580731617</c:v>
                </c:pt>
                <c:pt idx="126">
                  <c:v>23.563355760901441</c:v>
                </c:pt>
                <c:pt idx="127">
                  <c:v>24.071917396028812</c:v>
                </c:pt>
                <c:pt idx="128">
                  <c:v>24.410958486113724</c:v>
                </c:pt>
                <c:pt idx="129">
                  <c:v>24.749999576198636</c:v>
                </c:pt>
                <c:pt idx="130">
                  <c:v>25.258561211326008</c:v>
                </c:pt>
                <c:pt idx="131">
                  <c:v>25.767122846453375</c:v>
                </c:pt>
                <c:pt idx="132">
                  <c:v>26.445205026623203</c:v>
                </c:pt>
                <c:pt idx="133">
                  <c:v>26.953766661750571</c:v>
                </c:pt>
                <c:pt idx="134">
                  <c:v>27.462328296877942</c:v>
                </c:pt>
                <c:pt idx="135">
                  <c:v>27.97088993200531</c:v>
                </c:pt>
                <c:pt idx="136">
                  <c:v>28.648972112175137</c:v>
                </c:pt>
                <c:pt idx="137">
                  <c:v>29.327054292344961</c:v>
                </c:pt>
                <c:pt idx="138">
                  <c:v>30.005136472514788</c:v>
                </c:pt>
                <c:pt idx="139">
                  <c:v>30.513698107642156</c:v>
                </c:pt>
                <c:pt idx="140">
                  <c:v>31.191780287811984</c:v>
                </c:pt>
                <c:pt idx="141">
                  <c:v>31.700341922939348</c:v>
                </c:pt>
                <c:pt idx="142">
                  <c:v>32.378424103109175</c:v>
                </c:pt>
                <c:pt idx="143">
                  <c:v>33.056506283279006</c:v>
                </c:pt>
                <c:pt idx="144">
                  <c:v>33.73458846344883</c:v>
                </c:pt>
                <c:pt idx="145">
                  <c:v>34.412670643618654</c:v>
                </c:pt>
                <c:pt idx="146">
                  <c:v>35.090752823788478</c:v>
                </c:pt>
                <c:pt idx="147">
                  <c:v>35.768835003958301</c:v>
                </c:pt>
                <c:pt idx="148">
                  <c:v>36.616437729170592</c:v>
                </c:pt>
                <c:pt idx="149">
                  <c:v>37.294519909340409</c:v>
                </c:pt>
                <c:pt idx="150">
                  <c:v>37.972602089510239</c:v>
                </c:pt>
                <c:pt idx="151">
                  <c:v>38.820204814722523</c:v>
                </c:pt>
                <c:pt idx="152">
                  <c:v>39.498286994892347</c:v>
                </c:pt>
                <c:pt idx="153">
                  <c:v>40.34588972010463</c:v>
                </c:pt>
                <c:pt idx="154">
                  <c:v>41.193492445316913</c:v>
                </c:pt>
                <c:pt idx="155">
                  <c:v>41.871574625486737</c:v>
                </c:pt>
                <c:pt idx="156">
                  <c:v>42.71917735069902</c:v>
                </c:pt>
                <c:pt idx="157">
                  <c:v>43.566780075911296</c:v>
                </c:pt>
                <c:pt idx="158">
                  <c:v>44.414382801123587</c:v>
                </c:pt>
                <c:pt idx="159">
                  <c:v>45.261985526335863</c:v>
                </c:pt>
                <c:pt idx="160">
                  <c:v>46.109588251548146</c:v>
                </c:pt>
                <c:pt idx="161">
                  <c:v>46.95719097676043</c:v>
                </c:pt>
                <c:pt idx="162">
                  <c:v>47.974314247015165</c:v>
                </c:pt>
                <c:pt idx="163">
                  <c:v>48.991437517269901</c:v>
                </c:pt>
                <c:pt idx="164">
                  <c:v>49.839040242482191</c:v>
                </c:pt>
                <c:pt idx="165">
                  <c:v>50.686642967694468</c:v>
                </c:pt>
                <c:pt idx="166">
                  <c:v>51.70376623794921</c:v>
                </c:pt>
                <c:pt idx="167">
                  <c:v>52.7208895082039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31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2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B$155:$B$322</c:f>
              <c:numCache>
                <c:formatCode>0</c:formatCode>
                <c:ptCount val="168"/>
                <c:pt idx="0">
                  <c:v>346</c:v>
                </c:pt>
                <c:pt idx="1">
                  <c:v>539</c:v>
                </c:pt>
                <c:pt idx="2">
                  <c:v>850</c:v>
                </c:pt>
                <c:pt idx="3">
                  <c:v>334</c:v>
                </c:pt>
                <c:pt idx="4">
                  <c:v>586</c:v>
                </c:pt>
                <c:pt idx="5">
                  <c:v>593</c:v>
                </c:pt>
                <c:pt idx="6">
                  <c:v>158</c:v>
                </c:pt>
                <c:pt idx="7">
                  <c:v>149</c:v>
                </c:pt>
                <c:pt idx="8">
                  <c:v>773</c:v>
                </c:pt>
                <c:pt idx="9">
                  <c:v>699</c:v>
                </c:pt>
                <c:pt idx="10">
                  <c:v>445</c:v>
                </c:pt>
                <c:pt idx="11">
                  <c:v>646</c:v>
                </c:pt>
                <c:pt idx="12">
                  <c:v>240</c:v>
                </c:pt>
                <c:pt idx="13">
                  <c:v>33</c:v>
                </c:pt>
                <c:pt idx="14">
                  <c:v>212</c:v>
                </c:pt>
                <c:pt idx="15">
                  <c:v>968</c:v>
                </c:pt>
                <c:pt idx="16">
                  <c:v>648</c:v>
                </c:pt>
                <c:pt idx="17">
                  <c:v>718</c:v>
                </c:pt>
                <c:pt idx="18">
                  <c:v>318</c:v>
                </c:pt>
                <c:pt idx="19">
                  <c:v>392</c:v>
                </c:pt>
                <c:pt idx="20">
                  <c:v>48</c:v>
                </c:pt>
                <c:pt idx="21">
                  <c:v>403</c:v>
                </c:pt>
                <c:pt idx="22">
                  <c:v>961</c:v>
                </c:pt>
                <c:pt idx="23">
                  <c:v>327</c:v>
                </c:pt>
                <c:pt idx="24">
                  <c:v>1001</c:v>
                </c:pt>
                <c:pt idx="25">
                  <c:v>512</c:v>
                </c:pt>
                <c:pt idx="26">
                  <c:v>138</c:v>
                </c:pt>
                <c:pt idx="27">
                  <c:v>59</c:v>
                </c:pt>
                <c:pt idx="28">
                  <c:v>474</c:v>
                </c:pt>
                <c:pt idx="29">
                  <c:v>501</c:v>
                </c:pt>
                <c:pt idx="30">
                  <c:v>528</c:v>
                </c:pt>
                <c:pt idx="31">
                  <c:v>342</c:v>
                </c:pt>
                <c:pt idx="32">
                  <c:v>315</c:v>
                </c:pt>
                <c:pt idx="33">
                  <c:v>137</c:v>
                </c:pt>
                <c:pt idx="34">
                  <c:v>27</c:v>
                </c:pt>
                <c:pt idx="35">
                  <c:v>68</c:v>
                </c:pt>
                <c:pt idx="36">
                  <c:v>357</c:v>
                </c:pt>
                <c:pt idx="37">
                  <c:v>541</c:v>
                </c:pt>
                <c:pt idx="38">
                  <c:v>210</c:v>
                </c:pt>
                <c:pt idx="39">
                  <c:v>93</c:v>
                </c:pt>
                <c:pt idx="40">
                  <c:v>192</c:v>
                </c:pt>
                <c:pt idx="41">
                  <c:v>109</c:v>
                </c:pt>
                <c:pt idx="42">
                  <c:v>43</c:v>
                </c:pt>
                <c:pt idx="43">
                  <c:v>250</c:v>
                </c:pt>
                <c:pt idx="44">
                  <c:v>217</c:v>
                </c:pt>
                <c:pt idx="45">
                  <c:v>234</c:v>
                </c:pt>
                <c:pt idx="46">
                  <c:v>72</c:v>
                </c:pt>
                <c:pt idx="47">
                  <c:v>136</c:v>
                </c:pt>
                <c:pt idx="48">
                  <c:v>20</c:v>
                </c:pt>
                <c:pt idx="49">
                  <c:v>54</c:v>
                </c:pt>
                <c:pt idx="50">
                  <c:v>107</c:v>
                </c:pt>
                <c:pt idx="51">
                  <c:v>153</c:v>
                </c:pt>
                <c:pt idx="52">
                  <c:v>32</c:v>
                </c:pt>
                <c:pt idx="53">
                  <c:v>111</c:v>
                </c:pt>
                <c:pt idx="54">
                  <c:v>26</c:v>
                </c:pt>
                <c:pt idx="55">
                  <c:v>13</c:v>
                </c:pt>
                <c:pt idx="56">
                  <c:v>48</c:v>
                </c:pt>
                <c:pt idx="57">
                  <c:v>80</c:v>
                </c:pt>
                <c:pt idx="58">
                  <c:v>129</c:v>
                </c:pt>
                <c:pt idx="59">
                  <c:v>13</c:v>
                </c:pt>
                <c:pt idx="60">
                  <c:v>82</c:v>
                </c:pt>
                <c:pt idx="61">
                  <c:v>3</c:v>
                </c:pt>
                <c:pt idx="62">
                  <c:v>2</c:v>
                </c:pt>
                <c:pt idx="63">
                  <c:v>32</c:v>
                </c:pt>
                <c:pt idx="64">
                  <c:v>14</c:v>
                </c:pt>
                <c:pt idx="65">
                  <c:v>74</c:v>
                </c:pt>
                <c:pt idx="66">
                  <c:v>56</c:v>
                </c:pt>
                <c:pt idx="67">
                  <c:v>75</c:v>
                </c:pt>
                <c:pt idx="68">
                  <c:v>5</c:v>
                </c:pt>
                <c:pt idx="69">
                  <c:v>14</c:v>
                </c:pt>
                <c:pt idx="70">
                  <c:v>45</c:v>
                </c:pt>
                <c:pt idx="71">
                  <c:v>63</c:v>
                </c:pt>
                <c:pt idx="72">
                  <c:v>9</c:v>
                </c:pt>
                <c:pt idx="73">
                  <c:v>26</c:v>
                </c:pt>
                <c:pt idx="74">
                  <c:v>37</c:v>
                </c:pt>
                <c:pt idx="75">
                  <c:v>3</c:v>
                </c:pt>
                <c:pt idx="76">
                  <c:v>11</c:v>
                </c:pt>
                <c:pt idx="77">
                  <c:v>41</c:v>
                </c:pt>
                <c:pt idx="78">
                  <c:v>10</c:v>
                </c:pt>
                <c:pt idx="79">
                  <c:v>39</c:v>
                </c:pt>
                <c:pt idx="80">
                  <c:v>4</c:v>
                </c:pt>
                <c:pt idx="81">
                  <c:v>21</c:v>
                </c:pt>
                <c:pt idx="82">
                  <c:v>18</c:v>
                </c:pt>
                <c:pt idx="83">
                  <c:v>0</c:v>
                </c:pt>
                <c:pt idx="84">
                  <c:v>26</c:v>
                </c:pt>
                <c:pt idx="85">
                  <c:v>6</c:v>
                </c:pt>
                <c:pt idx="86">
                  <c:v>74</c:v>
                </c:pt>
                <c:pt idx="87">
                  <c:v>9</c:v>
                </c:pt>
                <c:pt idx="88">
                  <c:v>16</c:v>
                </c:pt>
                <c:pt idx="89">
                  <c:v>26</c:v>
                </c:pt>
                <c:pt idx="90">
                  <c:v>1</c:v>
                </c:pt>
                <c:pt idx="91">
                  <c:v>8</c:v>
                </c:pt>
                <c:pt idx="92">
                  <c:v>23</c:v>
                </c:pt>
                <c:pt idx="93">
                  <c:v>34</c:v>
                </c:pt>
                <c:pt idx="94">
                  <c:v>8</c:v>
                </c:pt>
                <c:pt idx="95">
                  <c:v>14</c:v>
                </c:pt>
                <c:pt idx="96">
                  <c:v>11</c:v>
                </c:pt>
                <c:pt idx="97">
                  <c:v>1</c:v>
                </c:pt>
                <c:pt idx="98">
                  <c:v>26</c:v>
                </c:pt>
                <c:pt idx="99">
                  <c:v>8</c:v>
                </c:pt>
                <c:pt idx="100">
                  <c:v>21</c:v>
                </c:pt>
                <c:pt idx="101">
                  <c:v>12</c:v>
                </c:pt>
                <c:pt idx="102">
                  <c:v>7</c:v>
                </c:pt>
                <c:pt idx="103">
                  <c:v>16</c:v>
                </c:pt>
                <c:pt idx="104">
                  <c:v>0</c:v>
                </c:pt>
                <c:pt idx="105">
                  <c:v>15</c:v>
                </c:pt>
                <c:pt idx="106">
                  <c:v>20</c:v>
                </c:pt>
                <c:pt idx="107">
                  <c:v>3</c:v>
                </c:pt>
                <c:pt idx="108">
                  <c:v>1</c:v>
                </c:pt>
                <c:pt idx="109">
                  <c:v>5</c:v>
                </c:pt>
                <c:pt idx="110">
                  <c:v>0</c:v>
                </c:pt>
                <c:pt idx="111">
                  <c:v>0</c:v>
                </c:pt>
                <c:pt idx="112">
                  <c:v>2</c:v>
                </c:pt>
                <c:pt idx="113">
                  <c:v>2</c:v>
                </c:pt>
                <c:pt idx="114">
                  <c:v>3</c:v>
                </c:pt>
                <c:pt idx="115">
                  <c:v>3</c:v>
                </c:pt>
                <c:pt idx="116">
                  <c:v>7</c:v>
                </c:pt>
                <c:pt idx="117">
                  <c:v>0</c:v>
                </c:pt>
                <c:pt idx="118">
                  <c:v>0</c:v>
                </c:pt>
                <c:pt idx="119">
                  <c:v>1</c:v>
                </c:pt>
                <c:pt idx="120">
                  <c:v>2</c:v>
                </c:pt>
                <c:pt idx="121">
                  <c:v>3</c:v>
                </c:pt>
                <c:pt idx="122">
                  <c:v>0</c:v>
                </c:pt>
                <c:pt idx="123">
                  <c:v>2</c:v>
                </c:pt>
                <c:pt idx="124">
                  <c:v>1</c:v>
                </c:pt>
                <c:pt idx="125">
                  <c:v>2</c:v>
                </c:pt>
                <c:pt idx="126">
                  <c:v>5</c:v>
                </c:pt>
                <c:pt idx="127">
                  <c:v>0</c:v>
                </c:pt>
                <c:pt idx="128">
                  <c:v>4</c:v>
                </c:pt>
                <c:pt idx="129">
                  <c:v>4</c:v>
                </c:pt>
                <c:pt idx="130">
                  <c:v>2</c:v>
                </c:pt>
                <c:pt idx="131">
                  <c:v>0</c:v>
                </c:pt>
                <c:pt idx="132">
                  <c:v>1</c:v>
                </c:pt>
                <c:pt idx="133">
                  <c:v>1</c:v>
                </c:pt>
                <c:pt idx="134">
                  <c:v>4</c:v>
                </c:pt>
                <c:pt idx="135">
                  <c:v>0</c:v>
                </c:pt>
                <c:pt idx="136">
                  <c:v>0</c:v>
                </c:pt>
                <c:pt idx="137">
                  <c:v>1</c:v>
                </c:pt>
                <c:pt idx="138">
                  <c:v>0</c:v>
                </c:pt>
                <c:pt idx="139">
                  <c:v>0</c:v>
                </c:pt>
                <c:pt idx="140">
                  <c:v>1</c:v>
                </c:pt>
                <c:pt idx="141">
                  <c:v>0</c:v>
                </c:pt>
                <c:pt idx="142">
                  <c:v>1</c:v>
                </c:pt>
                <c:pt idx="143">
                  <c:v>0</c:v>
                </c:pt>
                <c:pt idx="144">
                  <c:v>0</c:v>
                </c:pt>
                <c:pt idx="145">
                  <c:v>2</c:v>
                </c:pt>
                <c:pt idx="14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C$155:$C$322</c:f>
              <c:numCache>
                <c:formatCode>General</c:formatCode>
                <c:ptCount val="16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14A-45E8-87A1-7BD2345ADB4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70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D$155:$D$322</c:f>
              <c:numCache>
                <c:formatCode>General</c:formatCode>
                <c:ptCount val="168"/>
                <c:pt idx="119">
                  <c:v>2</c:v>
                </c:pt>
                <c:pt idx="120">
                  <c:v>2</c:v>
                </c:pt>
                <c:pt idx="121">
                  <c:v>2</c:v>
                </c:pt>
                <c:pt idx="122">
                  <c:v>2</c:v>
                </c:pt>
                <c:pt idx="123">
                  <c:v>1</c:v>
                </c:pt>
                <c:pt idx="124">
                  <c:v>1</c:v>
                </c:pt>
                <c:pt idx="125">
                  <c:v>1</c:v>
                </c:pt>
                <c:pt idx="126">
                  <c:v>1</c:v>
                </c:pt>
                <c:pt idx="127">
                  <c:v>1</c:v>
                </c:pt>
                <c:pt idx="128">
                  <c:v>1</c:v>
                </c:pt>
                <c:pt idx="129">
                  <c:v>1</c:v>
                </c:pt>
                <c:pt idx="130">
                  <c:v>1</c:v>
                </c:pt>
                <c:pt idx="131">
                  <c:v>1</c:v>
                </c:pt>
                <c:pt idx="132">
                  <c:v>1</c:v>
                </c:pt>
                <c:pt idx="133">
                  <c:v>1</c:v>
                </c:pt>
                <c:pt idx="134">
                  <c:v>1</c:v>
                </c:pt>
                <c:pt idx="135">
                  <c:v>1</c:v>
                </c:pt>
                <c:pt idx="136">
                  <c:v>1</c:v>
                </c:pt>
                <c:pt idx="137">
                  <c:v>1</c:v>
                </c:pt>
                <c:pt idx="138">
                  <c:v>1</c:v>
                </c:pt>
                <c:pt idx="139">
                  <c:v>1</c:v>
                </c:pt>
                <c:pt idx="140">
                  <c:v>1</c:v>
                </c:pt>
                <c:pt idx="141">
                  <c:v>1</c:v>
                </c:pt>
                <c:pt idx="142">
                  <c:v>1</c:v>
                </c:pt>
                <c:pt idx="143">
                  <c:v>1</c:v>
                </c:pt>
                <c:pt idx="144">
                  <c:v>1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49">
                  <c:v>0</c:v>
                </c:pt>
                <c:pt idx="150">
                  <c:v>0</c:v>
                </c:pt>
                <c:pt idx="151">
                  <c:v>0</c:v>
                </c:pt>
                <c:pt idx="152">
                  <c:v>0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0</c:v>
                </c:pt>
                <c:pt idx="161">
                  <c:v>0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14A-45E8-87A1-7BD2345ADB46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0,90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F$155:$F$322</c:f>
              <c:numCache>
                <c:formatCode>General</c:formatCode>
                <c:ptCount val="168"/>
                <c:pt idx="119">
                  <c:v>2</c:v>
                </c:pt>
                <c:pt idx="120">
                  <c:v>2</c:v>
                </c:pt>
                <c:pt idx="121">
                  <c:v>2</c:v>
                </c:pt>
                <c:pt idx="122">
                  <c:v>2</c:v>
                </c:pt>
                <c:pt idx="123">
                  <c:v>2</c:v>
                </c:pt>
                <c:pt idx="124">
                  <c:v>2</c:v>
                </c:pt>
                <c:pt idx="125">
                  <c:v>2</c:v>
                </c:pt>
                <c:pt idx="126">
                  <c:v>2</c:v>
                </c:pt>
                <c:pt idx="127">
                  <c:v>2</c:v>
                </c:pt>
                <c:pt idx="128">
                  <c:v>2</c:v>
                </c:pt>
                <c:pt idx="129">
                  <c:v>2</c:v>
                </c:pt>
                <c:pt idx="130">
                  <c:v>2</c:v>
                </c:pt>
                <c:pt idx="131">
                  <c:v>2</c:v>
                </c:pt>
                <c:pt idx="132">
                  <c:v>2</c:v>
                </c:pt>
                <c:pt idx="133">
                  <c:v>2</c:v>
                </c:pt>
                <c:pt idx="134">
                  <c:v>2</c:v>
                </c:pt>
                <c:pt idx="135">
                  <c:v>2</c:v>
                </c:pt>
                <c:pt idx="136">
                  <c:v>2</c:v>
                </c:pt>
                <c:pt idx="137">
                  <c:v>2</c:v>
                </c:pt>
                <c:pt idx="138">
                  <c:v>2</c:v>
                </c:pt>
                <c:pt idx="139">
                  <c:v>1</c:v>
                </c:pt>
                <c:pt idx="140">
                  <c:v>1</c:v>
                </c:pt>
                <c:pt idx="141">
                  <c:v>1</c:v>
                </c:pt>
                <c:pt idx="142">
                  <c:v>1</c:v>
                </c:pt>
                <c:pt idx="143">
                  <c:v>1</c:v>
                </c:pt>
                <c:pt idx="144">
                  <c:v>1</c:v>
                </c:pt>
                <c:pt idx="145">
                  <c:v>1</c:v>
                </c:pt>
                <c:pt idx="146">
                  <c:v>1</c:v>
                </c:pt>
                <c:pt idx="147">
                  <c:v>1</c:v>
                </c:pt>
                <c:pt idx="148">
                  <c:v>1</c:v>
                </c:pt>
                <c:pt idx="149">
                  <c:v>1</c:v>
                </c:pt>
                <c:pt idx="150">
                  <c:v>1</c:v>
                </c:pt>
                <c:pt idx="151">
                  <c:v>1</c:v>
                </c:pt>
                <c:pt idx="152">
                  <c:v>1</c:v>
                </c:pt>
                <c:pt idx="153">
                  <c:v>1</c:v>
                </c:pt>
                <c:pt idx="154">
                  <c:v>1</c:v>
                </c:pt>
                <c:pt idx="155">
                  <c:v>1</c:v>
                </c:pt>
                <c:pt idx="156">
                  <c:v>1</c:v>
                </c:pt>
                <c:pt idx="157">
                  <c:v>1</c:v>
                </c:pt>
                <c:pt idx="158">
                  <c:v>1</c:v>
                </c:pt>
                <c:pt idx="159">
                  <c:v>1</c:v>
                </c:pt>
                <c:pt idx="160">
                  <c:v>1</c:v>
                </c:pt>
                <c:pt idx="161">
                  <c:v>1</c:v>
                </c:pt>
                <c:pt idx="162">
                  <c:v>1</c:v>
                </c:pt>
                <c:pt idx="163">
                  <c:v>1</c:v>
                </c:pt>
                <c:pt idx="164">
                  <c:v>1</c:v>
                </c:pt>
                <c:pt idx="165">
                  <c:v>1</c:v>
                </c:pt>
                <c:pt idx="166">
                  <c:v>1</c:v>
                </c:pt>
                <c:pt idx="167">
                  <c:v>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14A-45E8-87A1-7BD2345ADB46}"/>
            </c:ext>
          </c:extLst>
        </c:ser>
        <c:ser>
          <c:idx val="5"/>
          <c:order val="4"/>
          <c:tx>
            <c:strRef>
              <c:f>Sheet1!$G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G$155:$G$322</c:f>
              <c:numCache>
                <c:formatCode>General</c:formatCode>
                <c:ptCount val="168"/>
                <c:pt idx="119">
                  <c:v>2</c:v>
                </c:pt>
                <c:pt idx="120">
                  <c:v>2</c:v>
                </c:pt>
                <c:pt idx="121">
                  <c:v>2</c:v>
                </c:pt>
                <c:pt idx="122">
                  <c:v>2</c:v>
                </c:pt>
                <c:pt idx="123">
                  <c:v>2</c:v>
                </c:pt>
                <c:pt idx="124">
                  <c:v>2</c:v>
                </c:pt>
                <c:pt idx="125">
                  <c:v>2</c:v>
                </c:pt>
                <c:pt idx="126">
                  <c:v>2</c:v>
                </c:pt>
                <c:pt idx="127">
                  <c:v>2</c:v>
                </c:pt>
                <c:pt idx="128">
                  <c:v>2</c:v>
                </c:pt>
                <c:pt idx="129">
                  <c:v>3</c:v>
                </c:pt>
                <c:pt idx="130">
                  <c:v>3</c:v>
                </c:pt>
                <c:pt idx="131">
                  <c:v>3</c:v>
                </c:pt>
                <c:pt idx="132">
                  <c:v>3</c:v>
                </c:pt>
                <c:pt idx="133">
                  <c:v>3</c:v>
                </c:pt>
                <c:pt idx="134">
                  <c:v>3</c:v>
                </c:pt>
                <c:pt idx="135">
                  <c:v>3</c:v>
                </c:pt>
                <c:pt idx="136">
                  <c:v>3</c:v>
                </c:pt>
                <c:pt idx="137">
                  <c:v>3</c:v>
                </c:pt>
                <c:pt idx="138">
                  <c:v>3</c:v>
                </c:pt>
                <c:pt idx="139">
                  <c:v>3</c:v>
                </c:pt>
                <c:pt idx="140">
                  <c:v>3</c:v>
                </c:pt>
                <c:pt idx="141">
                  <c:v>3</c:v>
                </c:pt>
                <c:pt idx="142">
                  <c:v>3</c:v>
                </c:pt>
                <c:pt idx="143">
                  <c:v>3</c:v>
                </c:pt>
                <c:pt idx="144">
                  <c:v>3</c:v>
                </c:pt>
                <c:pt idx="145">
                  <c:v>3</c:v>
                </c:pt>
                <c:pt idx="146">
                  <c:v>4</c:v>
                </c:pt>
                <c:pt idx="147">
                  <c:v>4</c:v>
                </c:pt>
                <c:pt idx="148">
                  <c:v>4</c:v>
                </c:pt>
                <c:pt idx="149">
                  <c:v>4</c:v>
                </c:pt>
                <c:pt idx="150">
                  <c:v>4</c:v>
                </c:pt>
                <c:pt idx="151">
                  <c:v>4</c:v>
                </c:pt>
                <c:pt idx="152">
                  <c:v>4</c:v>
                </c:pt>
                <c:pt idx="153">
                  <c:v>4</c:v>
                </c:pt>
                <c:pt idx="154">
                  <c:v>4</c:v>
                </c:pt>
                <c:pt idx="155">
                  <c:v>4</c:v>
                </c:pt>
                <c:pt idx="156">
                  <c:v>4</c:v>
                </c:pt>
                <c:pt idx="157">
                  <c:v>4</c:v>
                </c:pt>
                <c:pt idx="158">
                  <c:v>4</c:v>
                </c:pt>
                <c:pt idx="159">
                  <c:v>5</c:v>
                </c:pt>
                <c:pt idx="160">
                  <c:v>5</c:v>
                </c:pt>
                <c:pt idx="161">
                  <c:v>5</c:v>
                </c:pt>
                <c:pt idx="162">
                  <c:v>5</c:v>
                </c:pt>
                <c:pt idx="163">
                  <c:v>5</c:v>
                </c:pt>
                <c:pt idx="164">
                  <c:v>5</c:v>
                </c:pt>
                <c:pt idx="165">
                  <c:v>5</c:v>
                </c:pt>
                <c:pt idx="166">
                  <c:v>5</c:v>
                </c:pt>
                <c:pt idx="167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31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5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1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5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H$2:$H$169</c:f>
              <c:numCache>
                <c:formatCode>0</c:formatCode>
                <c:ptCount val="168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  <c:pt idx="126">
                  <c:v>100</c:v>
                </c:pt>
                <c:pt idx="127">
                  <c:v>100</c:v>
                </c:pt>
                <c:pt idx="128">
                  <c:v>100</c:v>
                </c:pt>
                <c:pt idx="129">
                  <c:v>100</c:v>
                </c:pt>
                <c:pt idx="130">
                  <c:v>100</c:v>
                </c:pt>
                <c:pt idx="131">
                  <c:v>100</c:v>
                </c:pt>
                <c:pt idx="132">
                  <c:v>100</c:v>
                </c:pt>
                <c:pt idx="133">
                  <c:v>100</c:v>
                </c:pt>
                <c:pt idx="134">
                  <c:v>100</c:v>
                </c:pt>
                <c:pt idx="135">
                  <c:v>100</c:v>
                </c:pt>
                <c:pt idx="136">
                  <c:v>100</c:v>
                </c:pt>
                <c:pt idx="137">
                  <c:v>100</c:v>
                </c:pt>
                <c:pt idx="138">
                  <c:v>100</c:v>
                </c:pt>
                <c:pt idx="139">
                  <c:v>100</c:v>
                </c:pt>
                <c:pt idx="140">
                  <c:v>100</c:v>
                </c:pt>
                <c:pt idx="141">
                  <c:v>100</c:v>
                </c:pt>
                <c:pt idx="142">
                  <c:v>100</c:v>
                </c:pt>
                <c:pt idx="143">
                  <c:v>100</c:v>
                </c:pt>
                <c:pt idx="144">
                  <c:v>100</c:v>
                </c:pt>
                <c:pt idx="145">
                  <c:v>100</c:v>
                </c:pt>
                <c:pt idx="146">
                  <c:v>100</c:v>
                </c:pt>
                <c:pt idx="147">
                  <c:v>100</c:v>
                </c:pt>
                <c:pt idx="148">
                  <c:v>100</c:v>
                </c:pt>
                <c:pt idx="149">
                  <c:v>100</c:v>
                </c:pt>
                <c:pt idx="150">
                  <c:v>100</c:v>
                </c:pt>
                <c:pt idx="151">
                  <c:v>100</c:v>
                </c:pt>
                <c:pt idx="152">
                  <c:v>100</c:v>
                </c:pt>
                <c:pt idx="153">
                  <c:v>100</c:v>
                </c:pt>
                <c:pt idx="154">
                  <c:v>100</c:v>
                </c:pt>
                <c:pt idx="155">
                  <c:v>100</c:v>
                </c:pt>
                <c:pt idx="156">
                  <c:v>100</c:v>
                </c:pt>
                <c:pt idx="157">
                  <c:v>100</c:v>
                </c:pt>
                <c:pt idx="158">
                  <c:v>100</c:v>
                </c:pt>
                <c:pt idx="159">
                  <c:v>100</c:v>
                </c:pt>
                <c:pt idx="160">
                  <c:v>100</c:v>
                </c:pt>
                <c:pt idx="161">
                  <c:v>100</c:v>
                </c:pt>
                <c:pt idx="162">
                  <c:v>100</c:v>
                </c:pt>
                <c:pt idx="163">
                  <c:v>100</c:v>
                </c:pt>
                <c:pt idx="164">
                  <c:v>100</c:v>
                </c:pt>
                <c:pt idx="165">
                  <c:v>100</c:v>
                </c:pt>
                <c:pt idx="166">
                  <c:v>100</c:v>
                </c:pt>
                <c:pt idx="167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EF5-483F-B422-4E0629062509}"/>
            </c:ext>
          </c:extLst>
        </c:ser>
        <c:ser>
          <c:idx val="7"/>
          <c:order val="6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rgbClr val="C2FFDF"/>
            </a:solidFill>
            <a:ln>
              <a:noFill/>
            </a:ln>
            <a:effectLst/>
          </c:spP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I$2:$I$169</c:f>
              <c:numCache>
                <c:formatCode>0</c:formatCode>
                <c:ptCount val="168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  <c:pt idx="79">
                  <c:v>50</c:v>
                </c:pt>
                <c:pt idx="80">
                  <c:v>50</c:v>
                </c:pt>
                <c:pt idx="81">
                  <c:v>50</c:v>
                </c:pt>
                <c:pt idx="82">
                  <c:v>50</c:v>
                </c:pt>
                <c:pt idx="83">
                  <c:v>50</c:v>
                </c:pt>
                <c:pt idx="84">
                  <c:v>50</c:v>
                </c:pt>
                <c:pt idx="85">
                  <c:v>50</c:v>
                </c:pt>
                <c:pt idx="86">
                  <c:v>50</c:v>
                </c:pt>
                <c:pt idx="87">
                  <c:v>50</c:v>
                </c:pt>
                <c:pt idx="88">
                  <c:v>50</c:v>
                </c:pt>
                <c:pt idx="89">
                  <c:v>50</c:v>
                </c:pt>
                <c:pt idx="90">
                  <c:v>50</c:v>
                </c:pt>
                <c:pt idx="91">
                  <c:v>50</c:v>
                </c:pt>
                <c:pt idx="92">
                  <c:v>50</c:v>
                </c:pt>
                <c:pt idx="93">
                  <c:v>50</c:v>
                </c:pt>
                <c:pt idx="94">
                  <c:v>50</c:v>
                </c:pt>
                <c:pt idx="95">
                  <c:v>50</c:v>
                </c:pt>
                <c:pt idx="96">
                  <c:v>50</c:v>
                </c:pt>
                <c:pt idx="97">
                  <c:v>50</c:v>
                </c:pt>
                <c:pt idx="98">
                  <c:v>50</c:v>
                </c:pt>
                <c:pt idx="99">
                  <c:v>50</c:v>
                </c:pt>
                <c:pt idx="100">
                  <c:v>50</c:v>
                </c:pt>
                <c:pt idx="101">
                  <c:v>50</c:v>
                </c:pt>
                <c:pt idx="102">
                  <c:v>50</c:v>
                </c:pt>
                <c:pt idx="103">
                  <c:v>50</c:v>
                </c:pt>
                <c:pt idx="104">
                  <c:v>50</c:v>
                </c:pt>
                <c:pt idx="105">
                  <c:v>50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  <c:pt idx="110">
                  <c:v>50</c:v>
                </c:pt>
                <c:pt idx="111">
                  <c:v>50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0</c:v>
                </c:pt>
                <c:pt idx="122">
                  <c:v>50</c:v>
                </c:pt>
                <c:pt idx="123">
                  <c:v>50</c:v>
                </c:pt>
                <c:pt idx="124">
                  <c:v>50</c:v>
                </c:pt>
                <c:pt idx="125">
                  <c:v>50</c:v>
                </c:pt>
                <c:pt idx="126">
                  <c:v>50</c:v>
                </c:pt>
                <c:pt idx="127">
                  <c:v>50</c:v>
                </c:pt>
                <c:pt idx="128">
                  <c:v>50</c:v>
                </c:pt>
                <c:pt idx="129">
                  <c:v>50</c:v>
                </c:pt>
                <c:pt idx="130">
                  <c:v>50</c:v>
                </c:pt>
                <c:pt idx="131">
                  <c:v>50</c:v>
                </c:pt>
                <c:pt idx="132">
                  <c:v>50</c:v>
                </c:pt>
                <c:pt idx="133">
                  <c:v>50</c:v>
                </c:pt>
                <c:pt idx="134">
                  <c:v>50</c:v>
                </c:pt>
                <c:pt idx="135">
                  <c:v>50</c:v>
                </c:pt>
                <c:pt idx="136">
                  <c:v>50</c:v>
                </c:pt>
                <c:pt idx="137">
                  <c:v>50</c:v>
                </c:pt>
                <c:pt idx="138">
                  <c:v>50</c:v>
                </c:pt>
                <c:pt idx="139">
                  <c:v>50</c:v>
                </c:pt>
                <c:pt idx="140">
                  <c:v>50</c:v>
                </c:pt>
                <c:pt idx="141">
                  <c:v>50</c:v>
                </c:pt>
                <c:pt idx="142">
                  <c:v>50</c:v>
                </c:pt>
                <c:pt idx="143">
                  <c:v>50</c:v>
                </c:pt>
                <c:pt idx="144">
                  <c:v>50</c:v>
                </c:pt>
                <c:pt idx="145">
                  <c:v>50</c:v>
                </c:pt>
                <c:pt idx="146">
                  <c:v>50</c:v>
                </c:pt>
                <c:pt idx="147">
                  <c:v>50</c:v>
                </c:pt>
                <c:pt idx="148">
                  <c:v>50</c:v>
                </c:pt>
                <c:pt idx="149">
                  <c:v>50</c:v>
                </c:pt>
                <c:pt idx="150">
                  <c:v>50</c:v>
                </c:pt>
                <c:pt idx="151">
                  <c:v>50</c:v>
                </c:pt>
                <c:pt idx="152">
                  <c:v>50</c:v>
                </c:pt>
                <c:pt idx="153">
                  <c:v>50</c:v>
                </c:pt>
                <c:pt idx="154">
                  <c:v>50</c:v>
                </c:pt>
                <c:pt idx="155">
                  <c:v>50</c:v>
                </c:pt>
                <c:pt idx="156">
                  <c:v>50</c:v>
                </c:pt>
                <c:pt idx="157">
                  <c:v>50</c:v>
                </c:pt>
                <c:pt idx="158">
                  <c:v>50</c:v>
                </c:pt>
                <c:pt idx="159">
                  <c:v>50</c:v>
                </c:pt>
                <c:pt idx="160">
                  <c:v>50</c:v>
                </c:pt>
                <c:pt idx="161">
                  <c:v>50</c:v>
                </c:pt>
                <c:pt idx="162">
                  <c:v>50</c:v>
                </c:pt>
                <c:pt idx="163">
                  <c:v>50</c:v>
                </c:pt>
                <c:pt idx="164">
                  <c:v>50</c:v>
                </c:pt>
                <c:pt idx="165">
                  <c:v>50</c:v>
                </c:pt>
                <c:pt idx="166">
                  <c:v>50</c:v>
                </c:pt>
                <c:pt idx="167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EF5-483F-B422-4E06290625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B$2:$B$169</c:f>
              <c:numCache>
                <c:formatCode>0</c:formatCode>
                <c:ptCount val="168"/>
                <c:pt idx="0">
                  <c:v>1138.7230618694832</c:v>
                </c:pt>
                <c:pt idx="1">
                  <c:v>1150.3148535172563</c:v>
                </c:pt>
                <c:pt idx="2">
                  <c:v>1259.073133977246</c:v>
                </c:pt>
                <c:pt idx="3">
                  <c:v>1101.9020766353804</c:v>
                </c:pt>
                <c:pt idx="4">
                  <c:v>1140.7686721602668</c:v>
                </c:pt>
                <c:pt idx="5">
                  <c:v>1204.8644612714832</c:v>
                </c:pt>
                <c:pt idx="6">
                  <c:v>1161.2247750681017</c:v>
                </c:pt>
                <c:pt idx="7">
                  <c:v>1094.0605705207099</c:v>
                </c:pt>
                <c:pt idx="8">
                  <c:v>1173.8393718612667</c:v>
                </c:pt>
                <c:pt idx="9">
                  <c:v>1122.3581795432153</c:v>
                </c:pt>
                <c:pt idx="10">
                  <c:v>1160.2019699227101</c:v>
                </c:pt>
                <c:pt idx="11">
                  <c:v>1180.6580728305451</c:v>
                </c:pt>
                <c:pt idx="12">
                  <c:v>1060.3080007227823</c:v>
                </c:pt>
                <c:pt idx="13">
                  <c:v>1017.6911196647927</c:v>
                </c:pt>
                <c:pt idx="14">
                  <c:v>1039.1700277180194</c:v>
                </c:pt>
                <c:pt idx="15">
                  <c:v>1105.6523621684833</c:v>
                </c:pt>
                <c:pt idx="16">
                  <c:v>1088.2646746968235</c:v>
                </c:pt>
                <c:pt idx="17">
                  <c:v>1181.339942927473</c:v>
                </c:pt>
                <c:pt idx="18">
                  <c:v>1069.5132470313081</c:v>
                </c:pt>
                <c:pt idx="19">
                  <c:v>1121.3353743978234</c:v>
                </c:pt>
                <c:pt idx="20">
                  <c:v>1126.4494001247822</c:v>
                </c:pt>
                <c:pt idx="21">
                  <c:v>1191.5679943813905</c:v>
                </c:pt>
                <c:pt idx="22">
                  <c:v>1189.181449042143</c:v>
                </c:pt>
                <c:pt idx="23">
                  <c:v>1079.7412984852256</c:v>
                </c:pt>
                <c:pt idx="24">
                  <c:v>1176.2259172005142</c:v>
                </c:pt>
                <c:pt idx="25">
                  <c:v>1242.3673166025142</c:v>
                </c:pt>
                <c:pt idx="26">
                  <c:v>1155.7698142926793</c:v>
                </c:pt>
                <c:pt idx="27">
                  <c:v>1159.5200998257822</c:v>
                </c:pt>
                <c:pt idx="28">
                  <c:v>1183.7264882667203</c:v>
                </c:pt>
                <c:pt idx="29">
                  <c:v>1026.8963659733183</c:v>
                </c:pt>
                <c:pt idx="30">
                  <c:v>1095.4243107145658</c:v>
                </c:pt>
                <c:pt idx="31">
                  <c:v>870.74811377684443</c:v>
                </c:pt>
                <c:pt idx="32">
                  <c:v>803.58390922945273</c:v>
                </c:pt>
                <c:pt idx="33">
                  <c:v>803.24297418098888</c:v>
                </c:pt>
                <c:pt idx="34">
                  <c:v>792.33305263014336</c:v>
                </c:pt>
                <c:pt idx="35">
                  <c:v>653.91342295379309</c:v>
                </c:pt>
                <c:pt idx="36">
                  <c:v>604.81877597498897</c:v>
                </c:pt>
                <c:pt idx="37">
                  <c:v>609.2509316050199</c:v>
                </c:pt>
                <c:pt idx="38">
                  <c:v>564.24750520778286</c:v>
                </c:pt>
                <c:pt idx="39">
                  <c:v>488.55992444879325</c:v>
                </c:pt>
                <c:pt idx="40">
                  <c:v>507.3113521143087</c:v>
                </c:pt>
                <c:pt idx="41">
                  <c:v>535.26802608834987</c:v>
                </c:pt>
                <c:pt idx="42">
                  <c:v>526.74464987675196</c:v>
                </c:pt>
                <c:pt idx="43">
                  <c:v>490.26459969111278</c:v>
                </c:pt>
                <c:pt idx="44">
                  <c:v>379.80164398880368</c:v>
                </c:pt>
                <c:pt idx="45">
                  <c:v>387.98408515193768</c:v>
                </c:pt>
                <c:pt idx="46">
                  <c:v>380.82444913419545</c:v>
                </c:pt>
                <c:pt idx="47">
                  <c:v>361.73208642021609</c:v>
                </c:pt>
                <c:pt idx="48">
                  <c:v>331.38886710692742</c:v>
                </c:pt>
                <c:pt idx="49">
                  <c:v>335.13915264003055</c:v>
                </c:pt>
                <c:pt idx="50">
                  <c:v>286.38544070969039</c:v>
                </c:pt>
                <c:pt idx="51">
                  <c:v>264.56559760799968</c:v>
                </c:pt>
                <c:pt idx="52">
                  <c:v>195.69671781828842</c:v>
                </c:pt>
                <c:pt idx="53">
                  <c:v>208.99318470838122</c:v>
                </c:pt>
                <c:pt idx="54">
                  <c:v>171.49032937735032</c:v>
                </c:pt>
                <c:pt idx="55">
                  <c:v>169.1037840381029</c:v>
                </c:pt>
                <c:pt idx="56">
                  <c:v>167.05817374731942</c:v>
                </c:pt>
                <c:pt idx="57">
                  <c:v>157.85292743879364</c:v>
                </c:pt>
                <c:pt idx="58">
                  <c:v>149.67048627565961</c:v>
                </c:pt>
                <c:pt idx="59">
                  <c:v>143.19272035484519</c:v>
                </c:pt>
                <c:pt idx="60">
                  <c:v>133.30560394939158</c:v>
                </c:pt>
                <c:pt idx="61">
                  <c:v>125.46409783472151</c:v>
                </c:pt>
                <c:pt idx="62">
                  <c:v>121.71381230161842</c:v>
                </c:pt>
                <c:pt idx="63">
                  <c:v>116.25885152619574</c:v>
                </c:pt>
                <c:pt idx="64">
                  <c:v>93.757138327577209</c:v>
                </c:pt>
                <c:pt idx="65">
                  <c:v>75.005710662061759</c:v>
                </c:pt>
                <c:pt idx="66">
                  <c:v>89.665917746010209</c:v>
                </c:pt>
                <c:pt idx="67">
                  <c:v>87.279372406762789</c:v>
                </c:pt>
                <c:pt idx="68">
                  <c:v>87.961242503690627</c:v>
                </c:pt>
                <c:pt idx="69">
                  <c:v>92.052463085257628</c:v>
                </c:pt>
                <c:pt idx="70">
                  <c:v>96.484618715288548</c:v>
                </c:pt>
                <c:pt idx="71">
                  <c:v>113.19043609002048</c:v>
                </c:pt>
                <c:pt idx="72">
                  <c:v>91.029657939865871</c:v>
                </c:pt>
                <c:pt idx="73">
                  <c:v>80.801606485948355</c:v>
                </c:pt>
                <c:pt idx="74">
                  <c:v>67.846074644319515</c:v>
                </c:pt>
                <c:pt idx="75">
                  <c:v>67.164204547391677</c:v>
                </c:pt>
                <c:pt idx="76">
                  <c:v>66.141399401999919</c:v>
                </c:pt>
                <c:pt idx="77">
                  <c:v>64.777659208144257</c:v>
                </c:pt>
                <c:pt idx="78">
                  <c:v>46.708101639556652</c:v>
                </c:pt>
                <c:pt idx="79">
                  <c:v>56.936153093474161</c:v>
                </c:pt>
                <c:pt idx="80">
                  <c:v>49.435582027267991</c:v>
                </c:pt>
                <c:pt idx="81">
                  <c:v>43.980621251845314</c:v>
                </c:pt>
                <c:pt idx="82">
                  <c:v>49.094646978804064</c:v>
                </c:pt>
                <c:pt idx="83">
                  <c:v>45.344361445700976</c:v>
                </c:pt>
                <c:pt idx="84">
                  <c:v>40.230335718742225</c:v>
                </c:pt>
                <c:pt idx="85">
                  <c:v>38.866595524886556</c:v>
                </c:pt>
                <c:pt idx="86">
                  <c:v>50.799322221123646</c:v>
                </c:pt>
                <c:pt idx="87">
                  <c:v>52.503997463443241</c:v>
                </c:pt>
                <c:pt idx="88">
                  <c:v>50.799322221123646</c:v>
                </c:pt>
                <c:pt idx="89">
                  <c:v>53.526802608834991</c:v>
                </c:pt>
                <c:pt idx="90">
                  <c:v>53.867737657298903</c:v>
                </c:pt>
                <c:pt idx="91">
                  <c:v>47.730906784948395</c:v>
                </c:pt>
                <c:pt idx="92">
                  <c:v>53.526802608834991</c:v>
                </c:pt>
                <c:pt idx="93">
                  <c:v>39.889400670278306</c:v>
                </c:pt>
                <c:pt idx="94">
                  <c:v>39.548465621814387</c:v>
                </c:pt>
                <c:pt idx="95">
                  <c:v>38.866595524886556</c:v>
                </c:pt>
                <c:pt idx="96">
                  <c:v>33.752569797927798</c:v>
                </c:pt>
                <c:pt idx="97">
                  <c:v>33.752569797927798</c:v>
                </c:pt>
                <c:pt idx="98">
                  <c:v>39.889400670278306</c:v>
                </c:pt>
                <c:pt idx="99">
                  <c:v>34.775374943319548</c:v>
                </c:pt>
                <c:pt idx="100">
                  <c:v>30.343219313288628</c:v>
                </c:pt>
                <c:pt idx="101">
                  <c:v>31.706959507144294</c:v>
                </c:pt>
                <c:pt idx="102">
                  <c:v>29.320414167896871</c:v>
                </c:pt>
                <c:pt idx="103">
                  <c:v>31.025089410216456</c:v>
                </c:pt>
                <c:pt idx="104">
                  <c:v>30.684154361752544</c:v>
                </c:pt>
                <c:pt idx="105">
                  <c:v>26.933868828649452</c:v>
                </c:pt>
                <c:pt idx="106">
                  <c:v>31.025089410216456</c:v>
                </c:pt>
                <c:pt idx="107">
                  <c:v>24.888258537865951</c:v>
                </c:pt>
                <c:pt idx="108">
                  <c:v>21.137973004762863</c:v>
                </c:pt>
                <c:pt idx="109">
                  <c:v>20.456102907835028</c:v>
                </c:pt>
                <c:pt idx="110">
                  <c:v>15.001142132412353</c:v>
                </c:pt>
                <c:pt idx="111">
                  <c:v>15.001142132412353</c:v>
                </c:pt>
                <c:pt idx="112">
                  <c:v>10.568986502381431</c:v>
                </c:pt>
                <c:pt idx="113">
                  <c:v>4.4321556300309233</c:v>
                </c:pt>
                <c:pt idx="114">
                  <c:v>4.4321556300309233</c:v>
                </c:pt>
                <c:pt idx="115">
                  <c:v>5.114025726958757</c:v>
                </c:pt>
                <c:pt idx="116">
                  <c:v>5.7958958238865907</c:v>
                </c:pt>
                <c:pt idx="117">
                  <c:v>5.7958958238865907</c:v>
                </c:pt>
                <c:pt idx="118">
                  <c:v>5.7958958238865907</c:v>
                </c:pt>
                <c:pt idx="119">
                  <c:v>5.4549607754226743</c:v>
                </c:pt>
                <c:pt idx="120">
                  <c:v>5.4549607754226743</c:v>
                </c:pt>
                <c:pt idx="121">
                  <c:v>5.4549607754226743</c:v>
                </c:pt>
                <c:pt idx="122">
                  <c:v>4.4321556300309233</c:v>
                </c:pt>
                <c:pt idx="123">
                  <c:v>2.7274803877113372</c:v>
                </c:pt>
                <c:pt idx="124">
                  <c:v>3.068415436175254</c:v>
                </c:pt>
                <c:pt idx="125">
                  <c:v>3.7502855331030882</c:v>
                </c:pt>
                <c:pt idx="126">
                  <c:v>5.114025726958757</c:v>
                </c:pt>
                <c:pt idx="127">
                  <c:v>4.4321556300309233</c:v>
                </c:pt>
                <c:pt idx="128">
                  <c:v>4.7730906784948397</c:v>
                </c:pt>
                <c:pt idx="129">
                  <c:v>6.1368308723505081</c:v>
                </c:pt>
                <c:pt idx="130">
                  <c:v>6.1368308723505081</c:v>
                </c:pt>
                <c:pt idx="131">
                  <c:v>5.7958958238865907</c:v>
                </c:pt>
                <c:pt idx="132">
                  <c:v>5.4549607754226743</c:v>
                </c:pt>
                <c:pt idx="133">
                  <c:v>4.091220581567006</c:v>
                </c:pt>
                <c:pt idx="134">
                  <c:v>5.4549607754226743</c:v>
                </c:pt>
                <c:pt idx="135">
                  <c:v>4.091220581567006</c:v>
                </c:pt>
                <c:pt idx="136">
                  <c:v>2.7274803877113372</c:v>
                </c:pt>
                <c:pt idx="137">
                  <c:v>2.3865453392474199</c:v>
                </c:pt>
                <c:pt idx="138">
                  <c:v>2.3865453392474199</c:v>
                </c:pt>
                <c:pt idx="139">
                  <c:v>2.045610290783503</c:v>
                </c:pt>
                <c:pt idx="140">
                  <c:v>2.045610290783503</c:v>
                </c:pt>
                <c:pt idx="141">
                  <c:v>0.68187009692783429</c:v>
                </c:pt>
                <c:pt idx="142">
                  <c:v>1.0228051453917515</c:v>
                </c:pt>
                <c:pt idx="143">
                  <c:v>1.0228051453917515</c:v>
                </c:pt>
                <c:pt idx="144">
                  <c:v>0.68187009692783429</c:v>
                </c:pt>
                <c:pt idx="145">
                  <c:v>1.3637401938556686</c:v>
                </c:pt>
                <c:pt idx="146">
                  <c:v>1.36374019385566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C$2:$C$169</c:f>
              <c:numCache>
                <c:formatCode>General</c:formatCode>
                <c:ptCount val="16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14A-45E8-87A1-7BD2345ADB4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75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D$2:$D$169</c:f>
              <c:numCache>
                <c:formatCode>General</c:formatCode>
                <c:ptCount val="168"/>
                <c:pt idx="119">
                  <c:v>5.4549607754226743</c:v>
                </c:pt>
                <c:pt idx="120">
                  <c:v>5.114025726958757</c:v>
                </c:pt>
                <c:pt idx="121">
                  <c:v>4.7730906784948397</c:v>
                </c:pt>
                <c:pt idx="122">
                  <c:v>4.7730906784948397</c:v>
                </c:pt>
                <c:pt idx="123">
                  <c:v>4.4321556300309233</c:v>
                </c:pt>
                <c:pt idx="124">
                  <c:v>4.091220581567006</c:v>
                </c:pt>
                <c:pt idx="125">
                  <c:v>3.7502855331030882</c:v>
                </c:pt>
                <c:pt idx="126">
                  <c:v>3.4093504846391713</c:v>
                </c:pt>
                <c:pt idx="127">
                  <c:v>3.068415436175254</c:v>
                </c:pt>
                <c:pt idx="128">
                  <c:v>2.7274803877113372</c:v>
                </c:pt>
                <c:pt idx="129">
                  <c:v>2.3865453392474199</c:v>
                </c:pt>
                <c:pt idx="130">
                  <c:v>2.3865453392474199</c:v>
                </c:pt>
                <c:pt idx="131">
                  <c:v>2.3865453392474199</c:v>
                </c:pt>
                <c:pt idx="132">
                  <c:v>2.3865453392474199</c:v>
                </c:pt>
                <c:pt idx="133">
                  <c:v>2.3865453392474199</c:v>
                </c:pt>
                <c:pt idx="134">
                  <c:v>2.3865453392474199</c:v>
                </c:pt>
                <c:pt idx="135">
                  <c:v>2.3865453392474199</c:v>
                </c:pt>
                <c:pt idx="136">
                  <c:v>2.3865453392474199</c:v>
                </c:pt>
                <c:pt idx="137">
                  <c:v>2.3865453392474199</c:v>
                </c:pt>
                <c:pt idx="138">
                  <c:v>2.3865453392474199</c:v>
                </c:pt>
                <c:pt idx="139">
                  <c:v>2.3865453392474199</c:v>
                </c:pt>
                <c:pt idx="140">
                  <c:v>2.3865453392474199</c:v>
                </c:pt>
                <c:pt idx="141">
                  <c:v>2.3865453392474199</c:v>
                </c:pt>
                <c:pt idx="142">
                  <c:v>2.3865453392474199</c:v>
                </c:pt>
                <c:pt idx="143">
                  <c:v>2.3865453392474199</c:v>
                </c:pt>
                <c:pt idx="144">
                  <c:v>2.3865453392474199</c:v>
                </c:pt>
                <c:pt idx="145">
                  <c:v>2.045610290783503</c:v>
                </c:pt>
                <c:pt idx="146">
                  <c:v>1.7046752423195857</c:v>
                </c:pt>
                <c:pt idx="147">
                  <c:v>1.3637401938556686</c:v>
                </c:pt>
                <c:pt idx="148">
                  <c:v>1.0228051453917515</c:v>
                </c:pt>
                <c:pt idx="149">
                  <c:v>0.68187009692783429</c:v>
                </c:pt>
                <c:pt idx="150">
                  <c:v>0.34093504846391715</c:v>
                </c:pt>
                <c:pt idx="151">
                  <c:v>0</c:v>
                </c:pt>
                <c:pt idx="152">
                  <c:v>0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0</c:v>
                </c:pt>
                <c:pt idx="161">
                  <c:v>0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14A-45E8-87A1-7BD2345ADB46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0,95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F$2:$F$169</c:f>
              <c:numCache>
                <c:formatCode>General</c:formatCode>
                <c:ptCount val="168"/>
                <c:pt idx="119">
                  <c:v>5.4549607754226743</c:v>
                </c:pt>
                <c:pt idx="120">
                  <c:v>5.114025726958757</c:v>
                </c:pt>
                <c:pt idx="121">
                  <c:v>4.7730906784948397</c:v>
                </c:pt>
                <c:pt idx="122">
                  <c:v>4.7730906784948397</c:v>
                </c:pt>
                <c:pt idx="123">
                  <c:v>4.7730906784948397</c:v>
                </c:pt>
                <c:pt idx="124">
                  <c:v>4.7730906784948397</c:v>
                </c:pt>
                <c:pt idx="125">
                  <c:v>4.7730906784948397</c:v>
                </c:pt>
                <c:pt idx="126">
                  <c:v>4.7730906784948397</c:v>
                </c:pt>
                <c:pt idx="127">
                  <c:v>4.7730906784948397</c:v>
                </c:pt>
                <c:pt idx="128">
                  <c:v>4.7730906784948397</c:v>
                </c:pt>
                <c:pt idx="129">
                  <c:v>4.7730906784948397</c:v>
                </c:pt>
                <c:pt idx="130">
                  <c:v>4.7730906784948397</c:v>
                </c:pt>
                <c:pt idx="131">
                  <c:v>4.7730906784948397</c:v>
                </c:pt>
                <c:pt idx="132">
                  <c:v>4.7730906784948397</c:v>
                </c:pt>
                <c:pt idx="133">
                  <c:v>4.7730906784948397</c:v>
                </c:pt>
                <c:pt idx="134">
                  <c:v>4.7730906784948397</c:v>
                </c:pt>
                <c:pt idx="135">
                  <c:v>4.7730906784948397</c:v>
                </c:pt>
                <c:pt idx="136">
                  <c:v>4.7730906784948397</c:v>
                </c:pt>
                <c:pt idx="137">
                  <c:v>4.7730906784948397</c:v>
                </c:pt>
                <c:pt idx="138">
                  <c:v>4.7730906784948397</c:v>
                </c:pt>
                <c:pt idx="139">
                  <c:v>4.4321556300309233</c:v>
                </c:pt>
                <c:pt idx="140">
                  <c:v>4.091220581567006</c:v>
                </c:pt>
                <c:pt idx="141">
                  <c:v>3.7502855331030882</c:v>
                </c:pt>
                <c:pt idx="142">
                  <c:v>3.4093504846391713</c:v>
                </c:pt>
                <c:pt idx="143">
                  <c:v>3.068415436175254</c:v>
                </c:pt>
                <c:pt idx="144">
                  <c:v>2.7274803877113372</c:v>
                </c:pt>
                <c:pt idx="145">
                  <c:v>2.3865453392474199</c:v>
                </c:pt>
                <c:pt idx="146">
                  <c:v>2.3865453392474199</c:v>
                </c:pt>
                <c:pt idx="147">
                  <c:v>2.3865453392474199</c:v>
                </c:pt>
                <c:pt idx="148">
                  <c:v>2.3865453392474199</c:v>
                </c:pt>
                <c:pt idx="149">
                  <c:v>2.3865453392474199</c:v>
                </c:pt>
                <c:pt idx="150">
                  <c:v>2.3865453392474199</c:v>
                </c:pt>
                <c:pt idx="151">
                  <c:v>2.3865453392474199</c:v>
                </c:pt>
                <c:pt idx="152">
                  <c:v>2.3865453392474199</c:v>
                </c:pt>
                <c:pt idx="153">
                  <c:v>2.3865453392474199</c:v>
                </c:pt>
                <c:pt idx="154">
                  <c:v>2.3865453392474199</c:v>
                </c:pt>
                <c:pt idx="155">
                  <c:v>2.3865453392474199</c:v>
                </c:pt>
                <c:pt idx="156">
                  <c:v>2.3865453392474199</c:v>
                </c:pt>
                <c:pt idx="157">
                  <c:v>2.3865453392474199</c:v>
                </c:pt>
                <c:pt idx="158">
                  <c:v>2.3865453392474199</c:v>
                </c:pt>
                <c:pt idx="159">
                  <c:v>2.3865453392474199</c:v>
                </c:pt>
                <c:pt idx="160">
                  <c:v>2.3865453392474199</c:v>
                </c:pt>
                <c:pt idx="161">
                  <c:v>2.3865453392474199</c:v>
                </c:pt>
                <c:pt idx="162">
                  <c:v>2.3865453392474199</c:v>
                </c:pt>
                <c:pt idx="163">
                  <c:v>2.3865453392474199</c:v>
                </c:pt>
                <c:pt idx="164">
                  <c:v>2.3865453392474199</c:v>
                </c:pt>
                <c:pt idx="165">
                  <c:v>2.3865453392474199</c:v>
                </c:pt>
                <c:pt idx="166">
                  <c:v>2.3865453392474199</c:v>
                </c:pt>
                <c:pt idx="167">
                  <c:v>2.38654533924741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14A-45E8-87A1-7BD2345ADB46}"/>
            </c:ext>
          </c:extLst>
        </c:ser>
        <c:ser>
          <c:idx val="5"/>
          <c:order val="4"/>
          <c:tx>
            <c:strRef>
              <c:f>Sheet1!$G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G$2:$G$169</c:f>
              <c:numCache>
                <c:formatCode>General</c:formatCode>
                <c:ptCount val="168"/>
                <c:pt idx="119">
                  <c:v>5.4549607754226743</c:v>
                </c:pt>
                <c:pt idx="120">
                  <c:v>5.114025726958757</c:v>
                </c:pt>
                <c:pt idx="121">
                  <c:v>4.7730906784948397</c:v>
                </c:pt>
                <c:pt idx="122">
                  <c:v>4.7730906784948397</c:v>
                </c:pt>
                <c:pt idx="123">
                  <c:v>4.7730906784948397</c:v>
                </c:pt>
                <c:pt idx="124">
                  <c:v>4.7730906784948397</c:v>
                </c:pt>
                <c:pt idx="125">
                  <c:v>4.7730906784948397</c:v>
                </c:pt>
                <c:pt idx="126">
                  <c:v>4.7730906784948397</c:v>
                </c:pt>
                <c:pt idx="127">
                  <c:v>4.7730906784948397</c:v>
                </c:pt>
                <c:pt idx="128">
                  <c:v>4.7730906784948397</c:v>
                </c:pt>
                <c:pt idx="129">
                  <c:v>5.114025726958757</c:v>
                </c:pt>
                <c:pt idx="130">
                  <c:v>5.4549607754226743</c:v>
                </c:pt>
                <c:pt idx="131">
                  <c:v>5.7958958238865907</c:v>
                </c:pt>
                <c:pt idx="132">
                  <c:v>6.1368308723505081</c:v>
                </c:pt>
                <c:pt idx="133">
                  <c:v>6.4777659208144254</c:v>
                </c:pt>
                <c:pt idx="134">
                  <c:v>6.8187009692783427</c:v>
                </c:pt>
                <c:pt idx="135">
                  <c:v>7.1596360177422591</c:v>
                </c:pt>
                <c:pt idx="136">
                  <c:v>7.1596360177422591</c:v>
                </c:pt>
                <c:pt idx="137">
                  <c:v>7.1596360177422591</c:v>
                </c:pt>
                <c:pt idx="138">
                  <c:v>7.1596360177422591</c:v>
                </c:pt>
                <c:pt idx="139">
                  <c:v>7.1596360177422591</c:v>
                </c:pt>
                <c:pt idx="140">
                  <c:v>7.1596360177422591</c:v>
                </c:pt>
                <c:pt idx="141">
                  <c:v>7.1596360177422591</c:v>
                </c:pt>
                <c:pt idx="142">
                  <c:v>7.1596360177422591</c:v>
                </c:pt>
                <c:pt idx="143">
                  <c:v>7.1596360177422591</c:v>
                </c:pt>
                <c:pt idx="144">
                  <c:v>7.1596360177422591</c:v>
                </c:pt>
                <c:pt idx="145">
                  <c:v>7.1596360177422591</c:v>
                </c:pt>
                <c:pt idx="146">
                  <c:v>7.5005710662061764</c:v>
                </c:pt>
                <c:pt idx="147">
                  <c:v>7.8415061146700946</c:v>
                </c:pt>
                <c:pt idx="148">
                  <c:v>8.1824411631340119</c:v>
                </c:pt>
                <c:pt idx="149">
                  <c:v>8.5233762115979275</c:v>
                </c:pt>
                <c:pt idx="150">
                  <c:v>8.8643112600618466</c:v>
                </c:pt>
                <c:pt idx="151">
                  <c:v>9.2052463085257639</c:v>
                </c:pt>
                <c:pt idx="152">
                  <c:v>9.5461813569896794</c:v>
                </c:pt>
                <c:pt idx="153">
                  <c:v>9.5461813569896794</c:v>
                </c:pt>
                <c:pt idx="154">
                  <c:v>9.5461813569896794</c:v>
                </c:pt>
                <c:pt idx="155">
                  <c:v>9.5461813569896794</c:v>
                </c:pt>
                <c:pt idx="156">
                  <c:v>9.5461813569896794</c:v>
                </c:pt>
                <c:pt idx="157">
                  <c:v>9.5461813569896794</c:v>
                </c:pt>
                <c:pt idx="158">
                  <c:v>9.5461813569896794</c:v>
                </c:pt>
                <c:pt idx="159">
                  <c:v>9.8871164054535967</c:v>
                </c:pt>
                <c:pt idx="160">
                  <c:v>10.228051453917514</c:v>
                </c:pt>
                <c:pt idx="161">
                  <c:v>10.568986502381431</c:v>
                </c:pt>
                <c:pt idx="162">
                  <c:v>10.909921550845349</c:v>
                </c:pt>
                <c:pt idx="163">
                  <c:v>11.250856599309266</c:v>
                </c:pt>
                <c:pt idx="164">
                  <c:v>11.591791647773181</c:v>
                </c:pt>
                <c:pt idx="165">
                  <c:v>11.932726696237099</c:v>
                </c:pt>
                <c:pt idx="166">
                  <c:v>11.932726696237099</c:v>
                </c:pt>
                <c:pt idx="167">
                  <c:v>11.9327266962370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31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12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B$155:$B$322</c:f>
              <c:numCache>
                <c:formatCode>0</c:formatCode>
                <c:ptCount val="168"/>
                <c:pt idx="0">
                  <c:v>443</c:v>
                </c:pt>
                <c:pt idx="1">
                  <c:v>571</c:v>
                </c:pt>
                <c:pt idx="2">
                  <c:v>611</c:v>
                </c:pt>
                <c:pt idx="3">
                  <c:v>552</c:v>
                </c:pt>
                <c:pt idx="4">
                  <c:v>482</c:v>
                </c:pt>
                <c:pt idx="5">
                  <c:v>376</c:v>
                </c:pt>
                <c:pt idx="6">
                  <c:v>165</c:v>
                </c:pt>
                <c:pt idx="7">
                  <c:v>424</c:v>
                </c:pt>
                <c:pt idx="8">
                  <c:v>708</c:v>
                </c:pt>
                <c:pt idx="9">
                  <c:v>625</c:v>
                </c:pt>
                <c:pt idx="10">
                  <c:v>563</c:v>
                </c:pt>
                <c:pt idx="11">
                  <c:v>547</c:v>
                </c:pt>
                <c:pt idx="12">
                  <c:v>466</c:v>
                </c:pt>
                <c:pt idx="13">
                  <c:v>250</c:v>
                </c:pt>
                <c:pt idx="14">
                  <c:v>633</c:v>
                </c:pt>
                <c:pt idx="15">
                  <c:v>852</c:v>
                </c:pt>
                <c:pt idx="16">
                  <c:v>839</c:v>
                </c:pt>
                <c:pt idx="17">
                  <c:v>888</c:v>
                </c:pt>
                <c:pt idx="18">
                  <c:v>816</c:v>
                </c:pt>
                <c:pt idx="19">
                  <c:v>604</c:v>
                </c:pt>
                <c:pt idx="20">
                  <c:v>422</c:v>
                </c:pt>
                <c:pt idx="21">
                  <c:v>876</c:v>
                </c:pt>
                <c:pt idx="22">
                  <c:v>1140</c:v>
                </c:pt>
                <c:pt idx="23">
                  <c:v>1072</c:v>
                </c:pt>
                <c:pt idx="24">
                  <c:v>1127</c:v>
                </c:pt>
                <c:pt idx="25">
                  <c:v>1161</c:v>
                </c:pt>
                <c:pt idx="26">
                  <c:v>743</c:v>
                </c:pt>
                <c:pt idx="27">
                  <c:v>464</c:v>
                </c:pt>
                <c:pt idx="28">
                  <c:v>821</c:v>
                </c:pt>
                <c:pt idx="29">
                  <c:v>1372</c:v>
                </c:pt>
                <c:pt idx="30">
                  <c:v>1345</c:v>
                </c:pt>
                <c:pt idx="31">
                  <c:v>1299</c:v>
                </c:pt>
                <c:pt idx="32">
                  <c:v>1187</c:v>
                </c:pt>
                <c:pt idx="33">
                  <c:v>689</c:v>
                </c:pt>
                <c:pt idx="34">
                  <c:v>401</c:v>
                </c:pt>
                <c:pt idx="35">
                  <c:v>919</c:v>
                </c:pt>
                <c:pt idx="36">
                  <c:v>1399</c:v>
                </c:pt>
                <c:pt idx="37">
                  <c:v>1518</c:v>
                </c:pt>
                <c:pt idx="38">
                  <c:v>1147</c:v>
                </c:pt>
                <c:pt idx="39">
                  <c:v>1332</c:v>
                </c:pt>
                <c:pt idx="40">
                  <c:v>620</c:v>
                </c:pt>
                <c:pt idx="41">
                  <c:v>362</c:v>
                </c:pt>
                <c:pt idx="42">
                  <c:v>888</c:v>
                </c:pt>
                <c:pt idx="43">
                  <c:v>1235</c:v>
                </c:pt>
                <c:pt idx="44">
                  <c:v>1174</c:v>
                </c:pt>
                <c:pt idx="45">
                  <c:v>1101</c:v>
                </c:pt>
                <c:pt idx="46">
                  <c:v>1013</c:v>
                </c:pt>
                <c:pt idx="47">
                  <c:v>627</c:v>
                </c:pt>
                <c:pt idx="48">
                  <c:v>280</c:v>
                </c:pt>
                <c:pt idx="49">
                  <c:v>727</c:v>
                </c:pt>
                <c:pt idx="50">
                  <c:v>1171</c:v>
                </c:pt>
                <c:pt idx="51">
                  <c:v>919</c:v>
                </c:pt>
                <c:pt idx="52">
                  <c:v>853</c:v>
                </c:pt>
                <c:pt idx="53">
                  <c:v>832</c:v>
                </c:pt>
                <c:pt idx="54">
                  <c:v>389</c:v>
                </c:pt>
                <c:pt idx="55">
                  <c:v>267</c:v>
                </c:pt>
                <c:pt idx="56">
                  <c:v>632</c:v>
                </c:pt>
                <c:pt idx="57">
                  <c:v>915</c:v>
                </c:pt>
                <c:pt idx="58">
                  <c:v>691</c:v>
                </c:pt>
                <c:pt idx="59">
                  <c:v>516</c:v>
                </c:pt>
                <c:pt idx="60">
                  <c:v>388</c:v>
                </c:pt>
                <c:pt idx="61">
                  <c:v>324</c:v>
                </c:pt>
                <c:pt idx="62">
                  <c:v>176</c:v>
                </c:pt>
                <c:pt idx="63">
                  <c:v>145</c:v>
                </c:pt>
                <c:pt idx="64">
                  <c:v>565</c:v>
                </c:pt>
                <c:pt idx="65">
                  <c:v>640</c:v>
                </c:pt>
                <c:pt idx="66">
                  <c:v>519</c:v>
                </c:pt>
                <c:pt idx="67">
                  <c:v>463</c:v>
                </c:pt>
                <c:pt idx="68">
                  <c:v>205</c:v>
                </c:pt>
                <c:pt idx="69">
                  <c:v>129</c:v>
                </c:pt>
                <c:pt idx="70">
                  <c:v>408</c:v>
                </c:pt>
                <c:pt idx="71">
                  <c:v>505</c:v>
                </c:pt>
                <c:pt idx="72">
                  <c:v>357</c:v>
                </c:pt>
                <c:pt idx="73">
                  <c:v>325</c:v>
                </c:pt>
                <c:pt idx="74">
                  <c:v>342</c:v>
                </c:pt>
                <c:pt idx="75">
                  <c:v>142</c:v>
                </c:pt>
                <c:pt idx="76">
                  <c:v>85</c:v>
                </c:pt>
                <c:pt idx="77">
                  <c:v>310</c:v>
                </c:pt>
                <c:pt idx="78">
                  <c:v>365</c:v>
                </c:pt>
                <c:pt idx="79">
                  <c:v>286</c:v>
                </c:pt>
                <c:pt idx="80">
                  <c:v>222</c:v>
                </c:pt>
                <c:pt idx="81">
                  <c:v>252</c:v>
                </c:pt>
                <c:pt idx="82">
                  <c:v>101</c:v>
                </c:pt>
                <c:pt idx="83">
                  <c:v>118</c:v>
                </c:pt>
                <c:pt idx="84">
                  <c:v>205</c:v>
                </c:pt>
                <c:pt idx="85">
                  <c:v>321</c:v>
                </c:pt>
                <c:pt idx="86">
                  <c:v>244</c:v>
                </c:pt>
                <c:pt idx="87">
                  <c:v>216</c:v>
                </c:pt>
                <c:pt idx="88">
                  <c:v>252</c:v>
                </c:pt>
                <c:pt idx="89">
                  <c:v>122</c:v>
                </c:pt>
                <c:pt idx="90">
                  <c:v>46</c:v>
                </c:pt>
                <c:pt idx="91">
                  <c:v>230</c:v>
                </c:pt>
                <c:pt idx="92">
                  <c:v>249</c:v>
                </c:pt>
                <c:pt idx="93">
                  <c:v>163</c:v>
                </c:pt>
                <c:pt idx="94">
                  <c:v>154</c:v>
                </c:pt>
                <c:pt idx="95">
                  <c:v>123</c:v>
                </c:pt>
                <c:pt idx="96">
                  <c:v>76</c:v>
                </c:pt>
                <c:pt idx="97">
                  <c:v>20</c:v>
                </c:pt>
                <c:pt idx="98">
                  <c:v>149</c:v>
                </c:pt>
                <c:pt idx="99">
                  <c:v>103</c:v>
                </c:pt>
                <c:pt idx="100">
                  <c:v>118</c:v>
                </c:pt>
                <c:pt idx="101">
                  <c:v>86</c:v>
                </c:pt>
                <c:pt idx="102">
                  <c:v>107</c:v>
                </c:pt>
                <c:pt idx="103">
                  <c:v>45</c:v>
                </c:pt>
                <c:pt idx="104">
                  <c:v>21</c:v>
                </c:pt>
                <c:pt idx="105">
                  <c:v>102</c:v>
                </c:pt>
                <c:pt idx="106">
                  <c:v>78</c:v>
                </c:pt>
                <c:pt idx="107">
                  <c:v>56</c:v>
                </c:pt>
                <c:pt idx="108">
                  <c:v>45</c:v>
                </c:pt>
                <c:pt idx="109">
                  <c:v>43</c:v>
                </c:pt>
                <c:pt idx="110">
                  <c:v>14</c:v>
                </c:pt>
                <c:pt idx="111">
                  <c:v>20</c:v>
                </c:pt>
                <c:pt idx="112">
                  <c:v>66</c:v>
                </c:pt>
                <c:pt idx="113">
                  <c:v>52</c:v>
                </c:pt>
                <c:pt idx="114">
                  <c:v>41</c:v>
                </c:pt>
                <c:pt idx="115">
                  <c:v>36</c:v>
                </c:pt>
                <c:pt idx="116">
                  <c:v>45</c:v>
                </c:pt>
                <c:pt idx="117">
                  <c:v>16</c:v>
                </c:pt>
                <c:pt idx="118">
                  <c:v>2</c:v>
                </c:pt>
                <c:pt idx="119">
                  <c:v>45</c:v>
                </c:pt>
                <c:pt idx="120">
                  <c:v>35</c:v>
                </c:pt>
                <c:pt idx="121">
                  <c:v>18</c:v>
                </c:pt>
                <c:pt idx="122">
                  <c:v>19</c:v>
                </c:pt>
                <c:pt idx="123">
                  <c:v>16</c:v>
                </c:pt>
                <c:pt idx="124">
                  <c:v>21</c:v>
                </c:pt>
                <c:pt idx="125">
                  <c:v>1</c:v>
                </c:pt>
                <c:pt idx="126">
                  <c:v>19</c:v>
                </c:pt>
                <c:pt idx="127">
                  <c:v>24</c:v>
                </c:pt>
                <c:pt idx="128">
                  <c:v>13</c:v>
                </c:pt>
                <c:pt idx="129">
                  <c:v>14</c:v>
                </c:pt>
                <c:pt idx="130">
                  <c:v>8</c:v>
                </c:pt>
                <c:pt idx="131">
                  <c:v>0</c:v>
                </c:pt>
                <c:pt idx="132">
                  <c:v>1</c:v>
                </c:pt>
                <c:pt idx="133">
                  <c:v>12</c:v>
                </c:pt>
                <c:pt idx="134">
                  <c:v>8</c:v>
                </c:pt>
                <c:pt idx="135">
                  <c:v>5</c:v>
                </c:pt>
                <c:pt idx="136">
                  <c:v>5</c:v>
                </c:pt>
                <c:pt idx="137">
                  <c:v>8</c:v>
                </c:pt>
                <c:pt idx="138">
                  <c:v>3</c:v>
                </c:pt>
                <c:pt idx="139">
                  <c:v>0</c:v>
                </c:pt>
                <c:pt idx="140">
                  <c:v>0</c:v>
                </c:pt>
                <c:pt idx="141">
                  <c:v>9</c:v>
                </c:pt>
                <c:pt idx="142">
                  <c:v>2</c:v>
                </c:pt>
                <c:pt idx="143">
                  <c:v>1</c:v>
                </c:pt>
                <c:pt idx="144">
                  <c:v>7</c:v>
                </c:pt>
                <c:pt idx="145">
                  <c:v>2</c:v>
                </c:pt>
                <c:pt idx="14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C$155:$C$322</c:f>
              <c:numCache>
                <c:formatCode>General</c:formatCode>
                <c:ptCount val="16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14A-45E8-87A1-7BD2345ADB4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70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D$155:$D$322</c:f>
              <c:numCache>
                <c:formatCode>General</c:formatCode>
                <c:ptCount val="168"/>
                <c:pt idx="119">
                  <c:v>27</c:v>
                </c:pt>
                <c:pt idx="120">
                  <c:v>26</c:v>
                </c:pt>
                <c:pt idx="121">
                  <c:v>25</c:v>
                </c:pt>
                <c:pt idx="122">
                  <c:v>23</c:v>
                </c:pt>
                <c:pt idx="123">
                  <c:v>22</c:v>
                </c:pt>
                <c:pt idx="124">
                  <c:v>21</c:v>
                </c:pt>
                <c:pt idx="125">
                  <c:v>19</c:v>
                </c:pt>
                <c:pt idx="126">
                  <c:v>18</c:v>
                </c:pt>
                <c:pt idx="127">
                  <c:v>17</c:v>
                </c:pt>
                <c:pt idx="128">
                  <c:v>17</c:v>
                </c:pt>
                <c:pt idx="129">
                  <c:v>16</c:v>
                </c:pt>
                <c:pt idx="130">
                  <c:v>15</c:v>
                </c:pt>
                <c:pt idx="131">
                  <c:v>14</c:v>
                </c:pt>
                <c:pt idx="132">
                  <c:v>13</c:v>
                </c:pt>
                <c:pt idx="133">
                  <c:v>13</c:v>
                </c:pt>
                <c:pt idx="134">
                  <c:v>12</c:v>
                </c:pt>
                <c:pt idx="135">
                  <c:v>11</c:v>
                </c:pt>
                <c:pt idx="136">
                  <c:v>11</c:v>
                </c:pt>
                <c:pt idx="137">
                  <c:v>10</c:v>
                </c:pt>
                <c:pt idx="138">
                  <c:v>10</c:v>
                </c:pt>
                <c:pt idx="139">
                  <c:v>9</c:v>
                </c:pt>
                <c:pt idx="140">
                  <c:v>9</c:v>
                </c:pt>
                <c:pt idx="141">
                  <c:v>8</c:v>
                </c:pt>
                <c:pt idx="142">
                  <c:v>8</c:v>
                </c:pt>
                <c:pt idx="143">
                  <c:v>8</c:v>
                </c:pt>
                <c:pt idx="144">
                  <c:v>7</c:v>
                </c:pt>
                <c:pt idx="145">
                  <c:v>7</c:v>
                </c:pt>
                <c:pt idx="146">
                  <c:v>7</c:v>
                </c:pt>
                <c:pt idx="147">
                  <c:v>6</c:v>
                </c:pt>
                <c:pt idx="148">
                  <c:v>6</c:v>
                </c:pt>
                <c:pt idx="149">
                  <c:v>6</c:v>
                </c:pt>
                <c:pt idx="150">
                  <c:v>6</c:v>
                </c:pt>
                <c:pt idx="151">
                  <c:v>6</c:v>
                </c:pt>
                <c:pt idx="152">
                  <c:v>5</c:v>
                </c:pt>
                <c:pt idx="153">
                  <c:v>5</c:v>
                </c:pt>
                <c:pt idx="154">
                  <c:v>5</c:v>
                </c:pt>
                <c:pt idx="155">
                  <c:v>5</c:v>
                </c:pt>
                <c:pt idx="156">
                  <c:v>5</c:v>
                </c:pt>
                <c:pt idx="157">
                  <c:v>5</c:v>
                </c:pt>
                <c:pt idx="158">
                  <c:v>4</c:v>
                </c:pt>
                <c:pt idx="159">
                  <c:v>4</c:v>
                </c:pt>
                <c:pt idx="160">
                  <c:v>4</c:v>
                </c:pt>
                <c:pt idx="161">
                  <c:v>4</c:v>
                </c:pt>
                <c:pt idx="162">
                  <c:v>4</c:v>
                </c:pt>
                <c:pt idx="163">
                  <c:v>4</c:v>
                </c:pt>
                <c:pt idx="164">
                  <c:v>4</c:v>
                </c:pt>
                <c:pt idx="165">
                  <c:v>4</c:v>
                </c:pt>
                <c:pt idx="166">
                  <c:v>4</c:v>
                </c:pt>
                <c:pt idx="167">
                  <c:v>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14A-45E8-87A1-7BD2345ADB46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0,90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F$155:$F$322</c:f>
              <c:numCache>
                <c:formatCode>General</c:formatCode>
                <c:ptCount val="168"/>
                <c:pt idx="119">
                  <c:v>27</c:v>
                </c:pt>
                <c:pt idx="120">
                  <c:v>29</c:v>
                </c:pt>
                <c:pt idx="121">
                  <c:v>29</c:v>
                </c:pt>
                <c:pt idx="122">
                  <c:v>28</c:v>
                </c:pt>
                <c:pt idx="123">
                  <c:v>27</c:v>
                </c:pt>
                <c:pt idx="124">
                  <c:v>26</c:v>
                </c:pt>
                <c:pt idx="125">
                  <c:v>26</c:v>
                </c:pt>
                <c:pt idx="126">
                  <c:v>26</c:v>
                </c:pt>
                <c:pt idx="127">
                  <c:v>26</c:v>
                </c:pt>
                <c:pt idx="128">
                  <c:v>25</c:v>
                </c:pt>
                <c:pt idx="129">
                  <c:v>25</c:v>
                </c:pt>
                <c:pt idx="130">
                  <c:v>24</c:v>
                </c:pt>
                <c:pt idx="131">
                  <c:v>24</c:v>
                </c:pt>
                <c:pt idx="132">
                  <c:v>24</c:v>
                </c:pt>
                <c:pt idx="133">
                  <c:v>24</c:v>
                </c:pt>
                <c:pt idx="134">
                  <c:v>23</c:v>
                </c:pt>
                <c:pt idx="135">
                  <c:v>23</c:v>
                </c:pt>
                <c:pt idx="136">
                  <c:v>23</c:v>
                </c:pt>
                <c:pt idx="137">
                  <c:v>22</c:v>
                </c:pt>
                <c:pt idx="138">
                  <c:v>22</c:v>
                </c:pt>
                <c:pt idx="139">
                  <c:v>22</c:v>
                </c:pt>
                <c:pt idx="140">
                  <c:v>22</c:v>
                </c:pt>
                <c:pt idx="141">
                  <c:v>21</c:v>
                </c:pt>
                <c:pt idx="142">
                  <c:v>21</c:v>
                </c:pt>
                <c:pt idx="143">
                  <c:v>21</c:v>
                </c:pt>
                <c:pt idx="144">
                  <c:v>20</c:v>
                </c:pt>
                <c:pt idx="145">
                  <c:v>20</c:v>
                </c:pt>
                <c:pt idx="146">
                  <c:v>20</c:v>
                </c:pt>
                <c:pt idx="147">
                  <c:v>20</c:v>
                </c:pt>
                <c:pt idx="148">
                  <c:v>19</c:v>
                </c:pt>
                <c:pt idx="149">
                  <c:v>19</c:v>
                </c:pt>
                <c:pt idx="150">
                  <c:v>19</c:v>
                </c:pt>
                <c:pt idx="151">
                  <c:v>19</c:v>
                </c:pt>
                <c:pt idx="152">
                  <c:v>19</c:v>
                </c:pt>
                <c:pt idx="153">
                  <c:v>18</c:v>
                </c:pt>
                <c:pt idx="154">
                  <c:v>18</c:v>
                </c:pt>
                <c:pt idx="155">
                  <c:v>18</c:v>
                </c:pt>
                <c:pt idx="156">
                  <c:v>18</c:v>
                </c:pt>
                <c:pt idx="157">
                  <c:v>18</c:v>
                </c:pt>
                <c:pt idx="158">
                  <c:v>17</c:v>
                </c:pt>
                <c:pt idx="159">
                  <c:v>17</c:v>
                </c:pt>
                <c:pt idx="160">
                  <c:v>17</c:v>
                </c:pt>
                <c:pt idx="161">
                  <c:v>17</c:v>
                </c:pt>
                <c:pt idx="162">
                  <c:v>17</c:v>
                </c:pt>
                <c:pt idx="163">
                  <c:v>16</c:v>
                </c:pt>
                <c:pt idx="164">
                  <c:v>16</c:v>
                </c:pt>
                <c:pt idx="165">
                  <c:v>16</c:v>
                </c:pt>
                <c:pt idx="166">
                  <c:v>16</c:v>
                </c:pt>
                <c:pt idx="167">
                  <c:v>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14A-45E8-87A1-7BD2345ADB46}"/>
            </c:ext>
          </c:extLst>
        </c:ser>
        <c:ser>
          <c:idx val="5"/>
          <c:order val="4"/>
          <c:tx>
            <c:strRef>
              <c:f>Sheet1!$G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G$155:$G$322</c:f>
              <c:numCache>
                <c:formatCode>General</c:formatCode>
                <c:ptCount val="168"/>
                <c:pt idx="119">
                  <c:v>27</c:v>
                </c:pt>
                <c:pt idx="120">
                  <c:v>32</c:v>
                </c:pt>
                <c:pt idx="121">
                  <c:v>33</c:v>
                </c:pt>
                <c:pt idx="122">
                  <c:v>33</c:v>
                </c:pt>
                <c:pt idx="123">
                  <c:v>32</c:v>
                </c:pt>
                <c:pt idx="124">
                  <c:v>32</c:v>
                </c:pt>
                <c:pt idx="125">
                  <c:v>33</c:v>
                </c:pt>
                <c:pt idx="126">
                  <c:v>35</c:v>
                </c:pt>
                <c:pt idx="127">
                  <c:v>36</c:v>
                </c:pt>
                <c:pt idx="128">
                  <c:v>37</c:v>
                </c:pt>
                <c:pt idx="129">
                  <c:v>37</c:v>
                </c:pt>
                <c:pt idx="130">
                  <c:v>37</c:v>
                </c:pt>
                <c:pt idx="131">
                  <c:v>38</c:v>
                </c:pt>
                <c:pt idx="132">
                  <c:v>39</c:v>
                </c:pt>
                <c:pt idx="133">
                  <c:v>40</c:v>
                </c:pt>
                <c:pt idx="134">
                  <c:v>41</c:v>
                </c:pt>
                <c:pt idx="135">
                  <c:v>42</c:v>
                </c:pt>
                <c:pt idx="136">
                  <c:v>42</c:v>
                </c:pt>
                <c:pt idx="137">
                  <c:v>43</c:v>
                </c:pt>
                <c:pt idx="138">
                  <c:v>44</c:v>
                </c:pt>
                <c:pt idx="139">
                  <c:v>45</c:v>
                </c:pt>
                <c:pt idx="140">
                  <c:v>46</c:v>
                </c:pt>
                <c:pt idx="141">
                  <c:v>47</c:v>
                </c:pt>
                <c:pt idx="142">
                  <c:v>48</c:v>
                </c:pt>
                <c:pt idx="143">
                  <c:v>49</c:v>
                </c:pt>
                <c:pt idx="144">
                  <c:v>50</c:v>
                </c:pt>
                <c:pt idx="145">
                  <c:v>51</c:v>
                </c:pt>
                <c:pt idx="146">
                  <c:v>52</c:v>
                </c:pt>
                <c:pt idx="147">
                  <c:v>53</c:v>
                </c:pt>
                <c:pt idx="148">
                  <c:v>54</c:v>
                </c:pt>
                <c:pt idx="149">
                  <c:v>55</c:v>
                </c:pt>
                <c:pt idx="150">
                  <c:v>56</c:v>
                </c:pt>
                <c:pt idx="151">
                  <c:v>57</c:v>
                </c:pt>
                <c:pt idx="152">
                  <c:v>58</c:v>
                </c:pt>
                <c:pt idx="153">
                  <c:v>60</c:v>
                </c:pt>
                <c:pt idx="154">
                  <c:v>61</c:v>
                </c:pt>
                <c:pt idx="155">
                  <c:v>62</c:v>
                </c:pt>
                <c:pt idx="156">
                  <c:v>63</c:v>
                </c:pt>
                <c:pt idx="157">
                  <c:v>64</c:v>
                </c:pt>
                <c:pt idx="158">
                  <c:v>66</c:v>
                </c:pt>
                <c:pt idx="159">
                  <c:v>67</c:v>
                </c:pt>
                <c:pt idx="160">
                  <c:v>68</c:v>
                </c:pt>
                <c:pt idx="161">
                  <c:v>70</c:v>
                </c:pt>
                <c:pt idx="162">
                  <c:v>71</c:v>
                </c:pt>
                <c:pt idx="163">
                  <c:v>72</c:v>
                </c:pt>
                <c:pt idx="164">
                  <c:v>74</c:v>
                </c:pt>
                <c:pt idx="165">
                  <c:v>75</c:v>
                </c:pt>
                <c:pt idx="166">
                  <c:v>77</c:v>
                </c:pt>
                <c:pt idx="167">
                  <c:v>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31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28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5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H$2:$H$169</c:f>
              <c:numCache>
                <c:formatCode>0</c:formatCode>
                <c:ptCount val="168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  <c:pt idx="126">
                  <c:v>100</c:v>
                </c:pt>
                <c:pt idx="127">
                  <c:v>100</c:v>
                </c:pt>
                <c:pt idx="128">
                  <c:v>100</c:v>
                </c:pt>
                <c:pt idx="129">
                  <c:v>100</c:v>
                </c:pt>
                <c:pt idx="130">
                  <c:v>100</c:v>
                </c:pt>
                <c:pt idx="131">
                  <c:v>100</c:v>
                </c:pt>
                <c:pt idx="132">
                  <c:v>100</c:v>
                </c:pt>
                <c:pt idx="133">
                  <c:v>100</c:v>
                </c:pt>
                <c:pt idx="134">
                  <c:v>100</c:v>
                </c:pt>
                <c:pt idx="135">
                  <c:v>100</c:v>
                </c:pt>
                <c:pt idx="136">
                  <c:v>100</c:v>
                </c:pt>
                <c:pt idx="137">
                  <c:v>100</c:v>
                </c:pt>
                <c:pt idx="138">
                  <c:v>100</c:v>
                </c:pt>
                <c:pt idx="139">
                  <c:v>100</c:v>
                </c:pt>
                <c:pt idx="140">
                  <c:v>100</c:v>
                </c:pt>
                <c:pt idx="141">
                  <c:v>100</c:v>
                </c:pt>
                <c:pt idx="142">
                  <c:v>100</c:v>
                </c:pt>
                <c:pt idx="143">
                  <c:v>100</c:v>
                </c:pt>
                <c:pt idx="144">
                  <c:v>100</c:v>
                </c:pt>
                <c:pt idx="145">
                  <c:v>100</c:v>
                </c:pt>
                <c:pt idx="146">
                  <c:v>100</c:v>
                </c:pt>
                <c:pt idx="147">
                  <c:v>100</c:v>
                </c:pt>
                <c:pt idx="148">
                  <c:v>100</c:v>
                </c:pt>
                <c:pt idx="149">
                  <c:v>100</c:v>
                </c:pt>
                <c:pt idx="150">
                  <c:v>100</c:v>
                </c:pt>
                <c:pt idx="151">
                  <c:v>100</c:v>
                </c:pt>
                <c:pt idx="152">
                  <c:v>100</c:v>
                </c:pt>
                <c:pt idx="153">
                  <c:v>100</c:v>
                </c:pt>
                <c:pt idx="154">
                  <c:v>100</c:v>
                </c:pt>
                <c:pt idx="155">
                  <c:v>100</c:v>
                </c:pt>
                <c:pt idx="156">
                  <c:v>100</c:v>
                </c:pt>
                <c:pt idx="157">
                  <c:v>100</c:v>
                </c:pt>
                <c:pt idx="158">
                  <c:v>100</c:v>
                </c:pt>
                <c:pt idx="159">
                  <c:v>100</c:v>
                </c:pt>
                <c:pt idx="160">
                  <c:v>100</c:v>
                </c:pt>
                <c:pt idx="161">
                  <c:v>100</c:v>
                </c:pt>
                <c:pt idx="162">
                  <c:v>100</c:v>
                </c:pt>
                <c:pt idx="163">
                  <c:v>100</c:v>
                </c:pt>
                <c:pt idx="164">
                  <c:v>100</c:v>
                </c:pt>
                <c:pt idx="165">
                  <c:v>100</c:v>
                </c:pt>
                <c:pt idx="166">
                  <c:v>100</c:v>
                </c:pt>
                <c:pt idx="167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EF5-483F-B422-4E0629062509}"/>
            </c:ext>
          </c:extLst>
        </c:ser>
        <c:ser>
          <c:idx val="7"/>
          <c:order val="6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rgbClr val="C2FFDF"/>
            </a:solidFill>
            <a:ln>
              <a:noFill/>
            </a:ln>
            <a:effectLst/>
          </c:spP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I$2:$I$169</c:f>
              <c:numCache>
                <c:formatCode>0</c:formatCode>
                <c:ptCount val="168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  <c:pt idx="79">
                  <c:v>50</c:v>
                </c:pt>
                <c:pt idx="80">
                  <c:v>50</c:v>
                </c:pt>
                <c:pt idx="81">
                  <c:v>50</c:v>
                </c:pt>
                <c:pt idx="82">
                  <c:v>50</c:v>
                </c:pt>
                <c:pt idx="83">
                  <c:v>50</c:v>
                </c:pt>
                <c:pt idx="84">
                  <c:v>50</c:v>
                </c:pt>
                <c:pt idx="85">
                  <c:v>50</c:v>
                </c:pt>
                <c:pt idx="86">
                  <c:v>50</c:v>
                </c:pt>
                <c:pt idx="87">
                  <c:v>50</c:v>
                </c:pt>
                <c:pt idx="88">
                  <c:v>50</c:v>
                </c:pt>
                <c:pt idx="89">
                  <c:v>50</c:v>
                </c:pt>
                <c:pt idx="90">
                  <c:v>50</c:v>
                </c:pt>
                <c:pt idx="91">
                  <c:v>50</c:v>
                </c:pt>
                <c:pt idx="92">
                  <c:v>50</c:v>
                </c:pt>
                <c:pt idx="93">
                  <c:v>50</c:v>
                </c:pt>
                <c:pt idx="94">
                  <c:v>50</c:v>
                </c:pt>
                <c:pt idx="95">
                  <c:v>50</c:v>
                </c:pt>
                <c:pt idx="96">
                  <c:v>50</c:v>
                </c:pt>
                <c:pt idx="97">
                  <c:v>50</c:v>
                </c:pt>
                <c:pt idx="98">
                  <c:v>50</c:v>
                </c:pt>
                <c:pt idx="99">
                  <c:v>50</c:v>
                </c:pt>
                <c:pt idx="100">
                  <c:v>50</c:v>
                </c:pt>
                <c:pt idx="101">
                  <c:v>50</c:v>
                </c:pt>
                <c:pt idx="102">
                  <c:v>50</c:v>
                </c:pt>
                <c:pt idx="103">
                  <c:v>50</c:v>
                </c:pt>
                <c:pt idx="104">
                  <c:v>50</c:v>
                </c:pt>
                <c:pt idx="105">
                  <c:v>50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  <c:pt idx="110">
                  <c:v>50</c:v>
                </c:pt>
                <c:pt idx="111">
                  <c:v>50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0</c:v>
                </c:pt>
                <c:pt idx="122">
                  <c:v>50</c:v>
                </c:pt>
                <c:pt idx="123">
                  <c:v>50</c:v>
                </c:pt>
                <c:pt idx="124">
                  <c:v>50</c:v>
                </c:pt>
                <c:pt idx="125">
                  <c:v>50</c:v>
                </c:pt>
                <c:pt idx="126">
                  <c:v>50</c:v>
                </c:pt>
                <c:pt idx="127">
                  <c:v>50</c:v>
                </c:pt>
                <c:pt idx="128">
                  <c:v>50</c:v>
                </c:pt>
                <c:pt idx="129">
                  <c:v>50</c:v>
                </c:pt>
                <c:pt idx="130">
                  <c:v>50</c:v>
                </c:pt>
                <c:pt idx="131">
                  <c:v>50</c:v>
                </c:pt>
                <c:pt idx="132">
                  <c:v>50</c:v>
                </c:pt>
                <c:pt idx="133">
                  <c:v>50</c:v>
                </c:pt>
                <c:pt idx="134">
                  <c:v>50</c:v>
                </c:pt>
                <c:pt idx="135">
                  <c:v>50</c:v>
                </c:pt>
                <c:pt idx="136">
                  <c:v>50</c:v>
                </c:pt>
                <c:pt idx="137">
                  <c:v>50</c:v>
                </c:pt>
                <c:pt idx="138">
                  <c:v>50</c:v>
                </c:pt>
                <c:pt idx="139">
                  <c:v>50</c:v>
                </c:pt>
                <c:pt idx="140">
                  <c:v>50</c:v>
                </c:pt>
                <c:pt idx="141">
                  <c:v>50</c:v>
                </c:pt>
                <c:pt idx="142">
                  <c:v>50</c:v>
                </c:pt>
                <c:pt idx="143">
                  <c:v>50</c:v>
                </c:pt>
                <c:pt idx="144">
                  <c:v>50</c:v>
                </c:pt>
                <c:pt idx="145">
                  <c:v>50</c:v>
                </c:pt>
                <c:pt idx="146">
                  <c:v>50</c:v>
                </c:pt>
                <c:pt idx="147">
                  <c:v>50</c:v>
                </c:pt>
                <c:pt idx="148">
                  <c:v>50</c:v>
                </c:pt>
                <c:pt idx="149">
                  <c:v>50</c:v>
                </c:pt>
                <c:pt idx="150">
                  <c:v>50</c:v>
                </c:pt>
                <c:pt idx="151">
                  <c:v>50</c:v>
                </c:pt>
                <c:pt idx="152">
                  <c:v>50</c:v>
                </c:pt>
                <c:pt idx="153">
                  <c:v>50</c:v>
                </c:pt>
                <c:pt idx="154">
                  <c:v>50</c:v>
                </c:pt>
                <c:pt idx="155">
                  <c:v>50</c:v>
                </c:pt>
                <c:pt idx="156">
                  <c:v>50</c:v>
                </c:pt>
                <c:pt idx="157">
                  <c:v>50</c:v>
                </c:pt>
                <c:pt idx="158">
                  <c:v>50</c:v>
                </c:pt>
                <c:pt idx="159">
                  <c:v>50</c:v>
                </c:pt>
                <c:pt idx="160">
                  <c:v>50</c:v>
                </c:pt>
                <c:pt idx="161">
                  <c:v>50</c:v>
                </c:pt>
                <c:pt idx="162">
                  <c:v>50</c:v>
                </c:pt>
                <c:pt idx="163">
                  <c:v>50</c:v>
                </c:pt>
                <c:pt idx="164">
                  <c:v>50</c:v>
                </c:pt>
                <c:pt idx="165">
                  <c:v>50</c:v>
                </c:pt>
                <c:pt idx="166">
                  <c:v>50</c:v>
                </c:pt>
                <c:pt idx="167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EF5-483F-B422-4E06290625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B$2:$B$169</c:f>
              <c:numCache>
                <c:formatCode>0</c:formatCode>
                <c:ptCount val="168"/>
                <c:pt idx="0">
                  <c:v>337.45244821322785</c:v>
                </c:pt>
                <c:pt idx="1">
                  <c:v>345.40834561397497</c:v>
                </c:pt>
                <c:pt idx="2">
                  <c:v>359.85135935686975</c:v>
                </c:pt>
                <c:pt idx="3">
                  <c:v>374.29437309976453</c:v>
                </c:pt>
                <c:pt idx="4">
                  <c:v>373.19278730581493</c:v>
                </c:pt>
                <c:pt idx="5">
                  <c:v>391.30775369520836</c:v>
                </c:pt>
                <c:pt idx="6">
                  <c:v>391.67494895985817</c:v>
                </c:pt>
                <c:pt idx="7">
                  <c:v>389.34937895040906</c:v>
                </c:pt>
                <c:pt idx="8">
                  <c:v>406.11796270275295</c:v>
                </c:pt>
                <c:pt idx="9">
                  <c:v>407.83154060445236</c:v>
                </c:pt>
                <c:pt idx="10">
                  <c:v>409.1779232415019</c:v>
                </c:pt>
                <c:pt idx="11">
                  <c:v>417.13382064224902</c:v>
                </c:pt>
                <c:pt idx="12">
                  <c:v>428.14967858174504</c:v>
                </c:pt>
                <c:pt idx="13">
                  <c:v>438.55354441349124</c:v>
                </c:pt>
                <c:pt idx="14">
                  <c:v>464.13481451743195</c:v>
                </c:pt>
                <c:pt idx="15">
                  <c:v>481.76018722062565</c:v>
                </c:pt>
                <c:pt idx="16">
                  <c:v>507.95344943231618</c:v>
                </c:pt>
                <c:pt idx="17">
                  <c:v>547.73293643605166</c:v>
                </c:pt>
                <c:pt idx="18">
                  <c:v>580.65811183298979</c:v>
                </c:pt>
                <c:pt idx="19">
                  <c:v>597.54909400688371</c:v>
                </c:pt>
                <c:pt idx="20">
                  <c:v>618.60162251347606</c:v>
                </c:pt>
                <c:pt idx="21">
                  <c:v>648.34443895011532</c:v>
                </c:pt>
                <c:pt idx="22">
                  <c:v>683.5951843565025</c:v>
                </c:pt>
                <c:pt idx="23">
                  <c:v>712.11401657764213</c:v>
                </c:pt>
                <c:pt idx="24">
                  <c:v>741.36723932808161</c:v>
                </c:pt>
                <c:pt idx="25">
                  <c:v>783.59469476281629</c:v>
                </c:pt>
                <c:pt idx="26">
                  <c:v>800.60807535826018</c:v>
                </c:pt>
                <c:pt idx="27">
                  <c:v>805.74880906335841</c:v>
                </c:pt>
                <c:pt idx="28">
                  <c:v>799.01689587811074</c:v>
                </c:pt>
                <c:pt idx="29">
                  <c:v>827.41332967770052</c:v>
                </c:pt>
                <c:pt idx="30">
                  <c:v>860.82809876083832</c:v>
                </c:pt>
                <c:pt idx="31">
                  <c:v>881.88062726743067</c:v>
                </c:pt>
                <c:pt idx="32">
                  <c:v>885.06298622772965</c:v>
                </c:pt>
                <c:pt idx="33">
                  <c:v>878.45347146403196</c:v>
                </c:pt>
                <c:pt idx="34">
                  <c:v>870.74237090638485</c:v>
                </c:pt>
                <c:pt idx="35">
                  <c:v>882.73741621828049</c:v>
                </c:pt>
                <c:pt idx="36">
                  <c:v>886.04217360012933</c:v>
                </c:pt>
                <c:pt idx="37">
                  <c:v>907.21710052827154</c:v>
                </c:pt>
                <c:pt idx="38">
                  <c:v>888.61254045267833</c:v>
                </c:pt>
                <c:pt idx="39">
                  <c:v>906.36031157742184</c:v>
                </c:pt>
                <c:pt idx="40">
                  <c:v>897.91482049047488</c:v>
                </c:pt>
                <c:pt idx="41">
                  <c:v>893.14128205002669</c:v>
                </c:pt>
                <c:pt idx="42">
                  <c:v>889.34693098197806</c:v>
                </c:pt>
                <c:pt idx="43">
                  <c:v>869.27358984778527</c:v>
                </c:pt>
                <c:pt idx="44">
                  <c:v>827.16853283460057</c:v>
                </c:pt>
                <c:pt idx="45">
                  <c:v>821.53820544330256</c:v>
                </c:pt>
                <c:pt idx="46">
                  <c:v>782.49310896886686</c:v>
                </c:pt>
                <c:pt idx="47">
                  <c:v>783.34989791971634</c:v>
                </c:pt>
                <c:pt idx="48">
                  <c:v>773.31322735262006</c:v>
                </c:pt>
                <c:pt idx="49">
                  <c:v>753.6070814830772</c:v>
                </c:pt>
                <c:pt idx="50">
                  <c:v>745.77358250387999</c:v>
                </c:pt>
                <c:pt idx="51">
                  <c:v>714.56198500864139</c:v>
                </c:pt>
                <c:pt idx="52">
                  <c:v>684.20717646425226</c:v>
                </c:pt>
                <c:pt idx="53">
                  <c:v>662.05306216371036</c:v>
                </c:pt>
                <c:pt idx="54">
                  <c:v>632.92223783482086</c:v>
                </c:pt>
                <c:pt idx="55">
                  <c:v>631.33105835467143</c:v>
                </c:pt>
                <c:pt idx="56">
                  <c:v>619.70320830742571</c:v>
                </c:pt>
                <c:pt idx="57">
                  <c:v>588.36921239063702</c:v>
                </c:pt>
                <c:pt idx="58">
                  <c:v>560.46237227724703</c:v>
                </c:pt>
                <c:pt idx="59">
                  <c:v>519.21410421491203</c:v>
                </c:pt>
                <c:pt idx="60">
                  <c:v>464.86920504673174</c:v>
                </c:pt>
                <c:pt idx="61">
                  <c:v>456.91330764598456</c:v>
                </c:pt>
                <c:pt idx="62">
                  <c:v>445.77505128493863</c:v>
                </c:pt>
                <c:pt idx="63">
                  <c:v>386.16701999011019</c:v>
                </c:pt>
                <c:pt idx="64">
                  <c:v>343.3275724476257</c:v>
                </c:pt>
                <c:pt idx="65">
                  <c:v>337.08525294857793</c:v>
                </c:pt>
                <c:pt idx="66">
                  <c:v>337.45244821322785</c:v>
                </c:pt>
                <c:pt idx="67">
                  <c:v>346.63232982947449</c:v>
                </c:pt>
                <c:pt idx="68">
                  <c:v>332.06691766502979</c:v>
                </c:pt>
                <c:pt idx="69">
                  <c:v>326.31419185218186</c:v>
                </c:pt>
                <c:pt idx="70">
                  <c:v>358.50497671982026</c:v>
                </c:pt>
                <c:pt idx="71">
                  <c:v>351.1610714268229</c:v>
                </c:pt>
                <c:pt idx="72">
                  <c:v>316.52231812818542</c:v>
                </c:pt>
                <c:pt idx="73">
                  <c:v>292.77702434749398</c:v>
                </c:pt>
                <c:pt idx="74">
                  <c:v>277.96681533994939</c:v>
                </c:pt>
                <c:pt idx="75">
                  <c:v>270.25571478230216</c:v>
                </c:pt>
                <c:pt idx="76">
                  <c:v>264.87018423410416</c:v>
                </c:pt>
                <c:pt idx="77">
                  <c:v>252.87513892220846</c:v>
                </c:pt>
                <c:pt idx="78">
                  <c:v>235.73935990521466</c:v>
                </c:pt>
                <c:pt idx="79">
                  <c:v>227.04907197516781</c:v>
                </c:pt>
                <c:pt idx="80">
                  <c:v>214.44203455552235</c:v>
                </c:pt>
                <c:pt idx="81">
                  <c:v>203.42617661602637</c:v>
                </c:pt>
                <c:pt idx="82">
                  <c:v>198.40784133247817</c:v>
                </c:pt>
                <c:pt idx="83">
                  <c:v>202.44698924362675</c:v>
                </c:pt>
                <c:pt idx="84">
                  <c:v>189.59515498088135</c:v>
                </c:pt>
                <c:pt idx="85">
                  <c:v>184.20962443268331</c:v>
                </c:pt>
                <c:pt idx="86">
                  <c:v>179.06889072758517</c:v>
                </c:pt>
                <c:pt idx="87">
                  <c:v>178.33450019828544</c:v>
                </c:pt>
                <c:pt idx="88">
                  <c:v>178.33450019828544</c:v>
                </c:pt>
                <c:pt idx="89">
                  <c:v>180.90486705083453</c:v>
                </c:pt>
                <c:pt idx="90">
                  <c:v>172.0921806992377</c:v>
                </c:pt>
                <c:pt idx="91">
                  <c:v>175.1521412379866</c:v>
                </c:pt>
                <c:pt idx="92">
                  <c:v>166.33945488638977</c:v>
                </c:pt>
                <c:pt idx="93">
                  <c:v>156.42518274084335</c:v>
                </c:pt>
                <c:pt idx="94">
                  <c:v>148.83648060474613</c:v>
                </c:pt>
                <c:pt idx="95">
                  <c:v>133.04708422480184</c:v>
                </c:pt>
                <c:pt idx="96">
                  <c:v>127.41675683350388</c:v>
                </c:pt>
                <c:pt idx="97">
                  <c:v>124.23439787320501</c:v>
                </c:pt>
                <c:pt idx="98">
                  <c:v>114.32012572765862</c:v>
                </c:pt>
                <c:pt idx="99">
                  <c:v>96.449956181365096</c:v>
                </c:pt>
                <c:pt idx="100">
                  <c:v>90.942027211617088</c:v>
                </c:pt>
                <c:pt idx="101">
                  <c:v>82.618934546220089</c:v>
                </c:pt>
                <c:pt idx="102">
                  <c:v>80.660559801420803</c:v>
                </c:pt>
                <c:pt idx="103">
                  <c:v>76.866208733372176</c:v>
                </c:pt>
                <c:pt idx="104">
                  <c:v>76.988607154922136</c:v>
                </c:pt>
                <c:pt idx="105">
                  <c:v>71.235881342074222</c:v>
                </c:pt>
                <c:pt idx="106">
                  <c:v>68.175920803325312</c:v>
                </c:pt>
                <c:pt idx="107">
                  <c:v>60.587218667228065</c:v>
                </c:pt>
                <c:pt idx="108">
                  <c:v>55.568883383679882</c:v>
                </c:pt>
                <c:pt idx="109">
                  <c:v>47.735384404482723</c:v>
                </c:pt>
                <c:pt idx="110">
                  <c:v>43.941033336434096</c:v>
                </c:pt>
                <c:pt idx="111">
                  <c:v>43.818634914884136</c:v>
                </c:pt>
                <c:pt idx="112">
                  <c:v>39.412291739085738</c:v>
                </c:pt>
                <c:pt idx="113">
                  <c:v>36.229932778786882</c:v>
                </c:pt>
                <c:pt idx="114">
                  <c:v>34.393956455537548</c:v>
                </c:pt>
                <c:pt idx="115">
                  <c:v>33.292370661587945</c:v>
                </c:pt>
                <c:pt idx="116">
                  <c:v>33.537167504687858</c:v>
                </c:pt>
                <c:pt idx="117">
                  <c:v>33.78196434778777</c:v>
                </c:pt>
                <c:pt idx="118">
                  <c:v>31.578792759888564</c:v>
                </c:pt>
                <c:pt idx="119">
                  <c:v>29.008425907339497</c:v>
                </c:pt>
                <c:pt idx="120">
                  <c:v>26.927652740990251</c:v>
                </c:pt>
                <c:pt idx="121">
                  <c:v>24.112489045341274</c:v>
                </c:pt>
                <c:pt idx="122">
                  <c:v>22.031715878992024</c:v>
                </c:pt>
                <c:pt idx="123">
                  <c:v>18.48216165404331</c:v>
                </c:pt>
                <c:pt idx="124">
                  <c:v>19.094153761793088</c:v>
                </c:pt>
                <c:pt idx="125">
                  <c:v>18.971755340243131</c:v>
                </c:pt>
                <c:pt idx="126">
                  <c:v>15.789396379944282</c:v>
                </c:pt>
                <c:pt idx="127">
                  <c:v>14.443013742894772</c:v>
                </c:pt>
                <c:pt idx="128">
                  <c:v>13.831021635144994</c:v>
                </c:pt>
                <c:pt idx="129">
                  <c:v>13.219029527395215</c:v>
                </c:pt>
                <c:pt idx="130">
                  <c:v>12.239842154995568</c:v>
                </c:pt>
                <c:pt idx="131">
                  <c:v>9.6694753024465001</c:v>
                </c:pt>
                <c:pt idx="132">
                  <c:v>9.6694753024465001</c:v>
                </c:pt>
                <c:pt idx="133">
                  <c:v>8.8126863515968097</c:v>
                </c:pt>
                <c:pt idx="134">
                  <c:v>6.8543116067975189</c:v>
                </c:pt>
                <c:pt idx="135">
                  <c:v>5.8751242343978731</c:v>
                </c:pt>
                <c:pt idx="136">
                  <c:v>4.7735384404482719</c:v>
                </c:pt>
                <c:pt idx="137">
                  <c:v>4.7735384404482719</c:v>
                </c:pt>
                <c:pt idx="138">
                  <c:v>5.140733705098139</c:v>
                </c:pt>
                <c:pt idx="139">
                  <c:v>5.0183352835481836</c:v>
                </c:pt>
                <c:pt idx="140">
                  <c:v>3.5495542249487153</c:v>
                </c:pt>
                <c:pt idx="141">
                  <c:v>3.6719526464986711</c:v>
                </c:pt>
                <c:pt idx="142">
                  <c:v>3.3047573818488036</c:v>
                </c:pt>
                <c:pt idx="143">
                  <c:v>2.8151636956489807</c:v>
                </c:pt>
                <c:pt idx="144">
                  <c:v>2.6927652740990253</c:v>
                </c:pt>
                <c:pt idx="145">
                  <c:v>2.5703668525490695</c:v>
                </c:pt>
                <c:pt idx="146">
                  <c:v>2.57036685254906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C$2:$C$169</c:f>
              <c:numCache>
                <c:formatCode>General</c:formatCode>
                <c:ptCount val="16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14A-45E8-87A1-7BD2345ADB4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75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D$2:$D$169</c:f>
              <c:numCache>
                <c:formatCode>General</c:formatCode>
                <c:ptCount val="168"/>
                <c:pt idx="119">
                  <c:v>28.886027485789544</c:v>
                </c:pt>
                <c:pt idx="120">
                  <c:v>27.050051162540207</c:v>
                </c:pt>
                <c:pt idx="121">
                  <c:v>25.33647326084083</c:v>
                </c:pt>
                <c:pt idx="122">
                  <c:v>23.745293780691405</c:v>
                </c:pt>
                <c:pt idx="123">
                  <c:v>22.398911143641893</c:v>
                </c:pt>
                <c:pt idx="124">
                  <c:v>21.174926928142334</c:v>
                </c:pt>
                <c:pt idx="125">
                  <c:v>19.950942712642778</c:v>
                </c:pt>
                <c:pt idx="126">
                  <c:v>18.849356918693179</c:v>
                </c:pt>
                <c:pt idx="127">
                  <c:v>17.747771124743576</c:v>
                </c:pt>
                <c:pt idx="128">
                  <c:v>16.768583752343929</c:v>
                </c:pt>
                <c:pt idx="129">
                  <c:v>15.911794801494239</c:v>
                </c:pt>
                <c:pt idx="130">
                  <c:v>15.055005850644552</c:v>
                </c:pt>
                <c:pt idx="131">
                  <c:v>14.198216899794861</c:v>
                </c:pt>
                <c:pt idx="132">
                  <c:v>13.463826370495125</c:v>
                </c:pt>
                <c:pt idx="133">
                  <c:v>12.851834262745347</c:v>
                </c:pt>
                <c:pt idx="134">
                  <c:v>12.239842154995568</c:v>
                </c:pt>
                <c:pt idx="135">
                  <c:v>11.505451625695835</c:v>
                </c:pt>
                <c:pt idx="136">
                  <c:v>10.893459517946056</c:v>
                </c:pt>
                <c:pt idx="137">
                  <c:v>10.281467410196278</c:v>
                </c:pt>
                <c:pt idx="138">
                  <c:v>9.7918737239964564</c:v>
                </c:pt>
                <c:pt idx="139">
                  <c:v>9.302280037796633</c:v>
                </c:pt>
                <c:pt idx="140">
                  <c:v>8.8126863515968097</c:v>
                </c:pt>
                <c:pt idx="141">
                  <c:v>8.3230926653969863</c:v>
                </c:pt>
                <c:pt idx="142">
                  <c:v>7.9558974007471193</c:v>
                </c:pt>
                <c:pt idx="143">
                  <c:v>7.5887021360972531</c:v>
                </c:pt>
                <c:pt idx="144">
                  <c:v>7.221506871447386</c:v>
                </c:pt>
                <c:pt idx="145">
                  <c:v>6.8543116067975189</c:v>
                </c:pt>
                <c:pt idx="146">
                  <c:v>6.6095147636976073</c:v>
                </c:pt>
                <c:pt idx="147">
                  <c:v>6.2423194990477402</c:v>
                </c:pt>
                <c:pt idx="148">
                  <c:v>5.9975226559478294</c:v>
                </c:pt>
                <c:pt idx="149">
                  <c:v>5.7527258128479177</c:v>
                </c:pt>
                <c:pt idx="150">
                  <c:v>5.5079289697480061</c:v>
                </c:pt>
                <c:pt idx="151">
                  <c:v>5.3855305481980507</c:v>
                </c:pt>
                <c:pt idx="152">
                  <c:v>5.140733705098139</c:v>
                </c:pt>
                <c:pt idx="153">
                  <c:v>4.8959368619982282</c:v>
                </c:pt>
                <c:pt idx="154">
                  <c:v>4.7735384404482719</c:v>
                </c:pt>
                <c:pt idx="155">
                  <c:v>4.6511400188983165</c:v>
                </c:pt>
                <c:pt idx="156">
                  <c:v>4.5287415973483602</c:v>
                </c:pt>
                <c:pt idx="157">
                  <c:v>4.4063431757984048</c:v>
                </c:pt>
                <c:pt idx="158">
                  <c:v>4.1615463326984932</c:v>
                </c:pt>
                <c:pt idx="159">
                  <c:v>4.0391479111485378</c:v>
                </c:pt>
                <c:pt idx="160">
                  <c:v>3.9167494895985819</c:v>
                </c:pt>
                <c:pt idx="161">
                  <c:v>3.7943510680486265</c:v>
                </c:pt>
                <c:pt idx="162">
                  <c:v>3.6719526464986711</c:v>
                </c:pt>
                <c:pt idx="163">
                  <c:v>3.5495542249487153</c:v>
                </c:pt>
                <c:pt idx="164">
                  <c:v>3.4271558033987595</c:v>
                </c:pt>
                <c:pt idx="165">
                  <c:v>3.4271558033987595</c:v>
                </c:pt>
                <c:pt idx="166">
                  <c:v>3.4271558033987595</c:v>
                </c:pt>
                <c:pt idx="167">
                  <c:v>3.42715580339875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14A-45E8-87A1-7BD2345ADB46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0,95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F$2:$F$169</c:f>
              <c:numCache>
                <c:formatCode>General</c:formatCode>
                <c:ptCount val="168"/>
                <c:pt idx="119">
                  <c:v>28.886027485789544</c:v>
                </c:pt>
                <c:pt idx="120">
                  <c:v>27.417246427190076</c:v>
                </c:pt>
                <c:pt idx="121">
                  <c:v>26.193262211690516</c:v>
                </c:pt>
                <c:pt idx="122">
                  <c:v>25.21407483929087</c:v>
                </c:pt>
                <c:pt idx="123">
                  <c:v>24.479684309991136</c:v>
                </c:pt>
                <c:pt idx="124">
                  <c:v>23.867692202241361</c:v>
                </c:pt>
                <c:pt idx="125">
                  <c:v>23.500496937591492</c:v>
                </c:pt>
                <c:pt idx="126">
                  <c:v>23.378098516041536</c:v>
                </c:pt>
                <c:pt idx="127">
                  <c:v>23.010903251391671</c:v>
                </c:pt>
                <c:pt idx="128">
                  <c:v>22.521309565191846</c:v>
                </c:pt>
                <c:pt idx="129">
                  <c:v>22.15411430054198</c:v>
                </c:pt>
                <c:pt idx="130">
                  <c:v>21.786919035892112</c:v>
                </c:pt>
                <c:pt idx="131">
                  <c:v>21.542122192792203</c:v>
                </c:pt>
                <c:pt idx="132">
                  <c:v>21.29732534969229</c:v>
                </c:pt>
                <c:pt idx="133">
                  <c:v>21.052528506592378</c:v>
                </c:pt>
                <c:pt idx="134">
                  <c:v>20.685333241942512</c:v>
                </c:pt>
                <c:pt idx="135">
                  <c:v>20.4405363988426</c:v>
                </c:pt>
                <c:pt idx="136">
                  <c:v>20.195739555742687</c:v>
                </c:pt>
                <c:pt idx="137">
                  <c:v>19.950942712642778</c:v>
                </c:pt>
                <c:pt idx="138">
                  <c:v>19.706145869542869</c:v>
                </c:pt>
                <c:pt idx="139">
                  <c:v>19.461349026442957</c:v>
                </c:pt>
                <c:pt idx="140">
                  <c:v>19.216552183343044</c:v>
                </c:pt>
                <c:pt idx="141">
                  <c:v>18.971755340243131</c:v>
                </c:pt>
                <c:pt idx="142">
                  <c:v>18.726958497143222</c:v>
                </c:pt>
                <c:pt idx="143">
                  <c:v>18.48216165404331</c:v>
                </c:pt>
                <c:pt idx="144">
                  <c:v>18.237364810943397</c:v>
                </c:pt>
                <c:pt idx="145">
                  <c:v>17.992567967843488</c:v>
                </c:pt>
                <c:pt idx="146">
                  <c:v>17.747771124743576</c:v>
                </c:pt>
                <c:pt idx="147">
                  <c:v>17.502974281643663</c:v>
                </c:pt>
                <c:pt idx="148">
                  <c:v>17.258177438543751</c:v>
                </c:pt>
                <c:pt idx="149">
                  <c:v>17.013380595443842</c:v>
                </c:pt>
                <c:pt idx="150">
                  <c:v>16.768583752343929</c:v>
                </c:pt>
                <c:pt idx="151">
                  <c:v>16.646185330793973</c:v>
                </c:pt>
                <c:pt idx="152">
                  <c:v>16.523786909244016</c:v>
                </c:pt>
                <c:pt idx="153">
                  <c:v>16.278990066144107</c:v>
                </c:pt>
                <c:pt idx="154">
                  <c:v>16.034193223044195</c:v>
                </c:pt>
                <c:pt idx="155">
                  <c:v>15.911794801494239</c:v>
                </c:pt>
                <c:pt idx="156">
                  <c:v>15.789396379944282</c:v>
                </c:pt>
                <c:pt idx="157">
                  <c:v>15.666997958394328</c:v>
                </c:pt>
                <c:pt idx="158">
                  <c:v>15.422201115294419</c:v>
                </c:pt>
                <c:pt idx="159">
                  <c:v>15.177404272194506</c:v>
                </c:pt>
                <c:pt idx="160">
                  <c:v>15.055005850644552</c:v>
                </c:pt>
                <c:pt idx="161">
                  <c:v>14.932607429094595</c:v>
                </c:pt>
                <c:pt idx="162">
                  <c:v>14.810209007544639</c:v>
                </c:pt>
                <c:pt idx="163">
                  <c:v>14.565412164444728</c:v>
                </c:pt>
                <c:pt idx="164">
                  <c:v>14.320615321344816</c:v>
                </c:pt>
                <c:pt idx="165">
                  <c:v>14.198216899794861</c:v>
                </c:pt>
                <c:pt idx="166">
                  <c:v>14.075818478244905</c:v>
                </c:pt>
                <c:pt idx="167">
                  <c:v>13.9534200566949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14A-45E8-87A1-7BD2345ADB46}"/>
            </c:ext>
          </c:extLst>
        </c:ser>
        <c:ser>
          <c:idx val="5"/>
          <c:order val="4"/>
          <c:tx>
            <c:strRef>
              <c:f>Sheet1!$G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G$2:$G$169</c:f>
              <c:numCache>
                <c:formatCode>General</c:formatCode>
                <c:ptCount val="168"/>
                <c:pt idx="119">
                  <c:v>28.886027485789544</c:v>
                </c:pt>
                <c:pt idx="120">
                  <c:v>27.784441691839941</c:v>
                </c:pt>
                <c:pt idx="121">
                  <c:v>27.050051162540207</c:v>
                </c:pt>
                <c:pt idx="122">
                  <c:v>26.682855897890342</c:v>
                </c:pt>
                <c:pt idx="123">
                  <c:v>26.560457476340389</c:v>
                </c:pt>
                <c:pt idx="124">
                  <c:v>26.682855897890342</c:v>
                </c:pt>
                <c:pt idx="125">
                  <c:v>27.172449584090163</c:v>
                </c:pt>
                <c:pt idx="126">
                  <c:v>28.15163695648981</c:v>
                </c:pt>
                <c:pt idx="127">
                  <c:v>28.641230642689631</c:v>
                </c:pt>
                <c:pt idx="128">
                  <c:v>29.130824328889457</c:v>
                </c:pt>
                <c:pt idx="129">
                  <c:v>29.620418015089278</c:v>
                </c:pt>
                <c:pt idx="130">
                  <c:v>30.232410122839056</c:v>
                </c:pt>
                <c:pt idx="131">
                  <c:v>30.96680065213879</c:v>
                </c:pt>
                <c:pt idx="132">
                  <c:v>31.701191181438524</c:v>
                </c:pt>
                <c:pt idx="133">
                  <c:v>32.313183289188302</c:v>
                </c:pt>
                <c:pt idx="134">
                  <c:v>32.92517539693808</c:v>
                </c:pt>
                <c:pt idx="135">
                  <c:v>33.537167504687858</c:v>
                </c:pt>
                <c:pt idx="136">
                  <c:v>34.149159612437643</c:v>
                </c:pt>
                <c:pt idx="137">
                  <c:v>34.883550141737373</c:v>
                </c:pt>
                <c:pt idx="138">
                  <c:v>35.617940671037111</c:v>
                </c:pt>
                <c:pt idx="139">
                  <c:v>36.352331200336835</c:v>
                </c:pt>
                <c:pt idx="140">
                  <c:v>37.086721729636572</c:v>
                </c:pt>
                <c:pt idx="141">
                  <c:v>37.82111225893631</c:v>
                </c:pt>
                <c:pt idx="142">
                  <c:v>38.555502788236041</c:v>
                </c:pt>
                <c:pt idx="143">
                  <c:v>39.412291739085738</c:v>
                </c:pt>
                <c:pt idx="144">
                  <c:v>40.269080689935421</c:v>
                </c:pt>
                <c:pt idx="145">
                  <c:v>41.125869640785112</c:v>
                </c:pt>
                <c:pt idx="146">
                  <c:v>41.982658591634802</c:v>
                </c:pt>
                <c:pt idx="147">
                  <c:v>42.839447542484493</c:v>
                </c:pt>
                <c:pt idx="148">
                  <c:v>43.696236493334183</c:v>
                </c:pt>
                <c:pt idx="149">
                  <c:v>44.553025444183874</c:v>
                </c:pt>
                <c:pt idx="150">
                  <c:v>45.409814395033557</c:v>
                </c:pt>
                <c:pt idx="151">
                  <c:v>46.266603345883254</c:v>
                </c:pt>
                <c:pt idx="152">
                  <c:v>47.123392296732938</c:v>
                </c:pt>
                <c:pt idx="153">
                  <c:v>48.102579669132588</c:v>
                </c:pt>
                <c:pt idx="154">
                  <c:v>49.081767041532238</c:v>
                </c:pt>
                <c:pt idx="155">
                  <c:v>50.060954413931874</c:v>
                </c:pt>
                <c:pt idx="156">
                  <c:v>51.040141786331517</c:v>
                </c:pt>
                <c:pt idx="157">
                  <c:v>52.019329158731168</c:v>
                </c:pt>
                <c:pt idx="158">
                  <c:v>53.120914952680778</c:v>
                </c:pt>
                <c:pt idx="159">
                  <c:v>54.222500746630374</c:v>
                </c:pt>
                <c:pt idx="160">
                  <c:v>55.201688119030024</c:v>
                </c:pt>
                <c:pt idx="161">
                  <c:v>56.30327391297962</c:v>
                </c:pt>
                <c:pt idx="162">
                  <c:v>57.404859706929216</c:v>
                </c:pt>
                <c:pt idx="163">
                  <c:v>58.506445500878819</c:v>
                </c:pt>
                <c:pt idx="164">
                  <c:v>59.730429716378381</c:v>
                </c:pt>
                <c:pt idx="165">
                  <c:v>60.832015510327977</c:v>
                </c:pt>
                <c:pt idx="166">
                  <c:v>62.055999725827533</c:v>
                </c:pt>
                <c:pt idx="167">
                  <c:v>63.2799839413270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31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2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B$155:$B$322</c:f>
              <c:numCache>
                <c:formatCode>0</c:formatCode>
                <c:ptCount val="168"/>
                <c:pt idx="0">
                  <c:v>451</c:v>
                </c:pt>
                <c:pt idx="1">
                  <c:v>446</c:v>
                </c:pt>
                <c:pt idx="2">
                  <c:v>451</c:v>
                </c:pt>
                <c:pt idx="3">
                  <c:v>448</c:v>
                </c:pt>
                <c:pt idx="4">
                  <c:v>440</c:v>
                </c:pt>
                <c:pt idx="5">
                  <c:v>188</c:v>
                </c:pt>
                <c:pt idx="6">
                  <c:v>129</c:v>
                </c:pt>
                <c:pt idx="7">
                  <c:v>514</c:v>
                </c:pt>
                <c:pt idx="8">
                  <c:v>488</c:v>
                </c:pt>
                <c:pt idx="9">
                  <c:v>488</c:v>
                </c:pt>
                <c:pt idx="10">
                  <c:v>487</c:v>
                </c:pt>
                <c:pt idx="11">
                  <c:v>508</c:v>
                </c:pt>
                <c:pt idx="12">
                  <c:v>239</c:v>
                </c:pt>
                <c:pt idx="13">
                  <c:v>150</c:v>
                </c:pt>
                <c:pt idx="14">
                  <c:v>523</c:v>
                </c:pt>
                <c:pt idx="15">
                  <c:v>622</c:v>
                </c:pt>
                <c:pt idx="16">
                  <c:v>648</c:v>
                </c:pt>
                <c:pt idx="17">
                  <c:v>568</c:v>
                </c:pt>
                <c:pt idx="18">
                  <c:v>590</c:v>
                </c:pt>
                <c:pt idx="19">
                  <c:v>324</c:v>
                </c:pt>
                <c:pt idx="20">
                  <c:v>175</c:v>
                </c:pt>
                <c:pt idx="21">
                  <c:v>724</c:v>
                </c:pt>
                <c:pt idx="22">
                  <c:v>781</c:v>
                </c:pt>
                <c:pt idx="23">
                  <c:v>825</c:v>
                </c:pt>
                <c:pt idx="24">
                  <c:v>854</c:v>
                </c:pt>
                <c:pt idx="25">
                  <c:v>825</c:v>
                </c:pt>
                <c:pt idx="26">
                  <c:v>402</c:v>
                </c:pt>
                <c:pt idx="27">
                  <c:v>255</c:v>
                </c:pt>
                <c:pt idx="28">
                  <c:v>761</c:v>
                </c:pt>
                <c:pt idx="29">
                  <c:v>862</c:v>
                </c:pt>
                <c:pt idx="30">
                  <c:v>867</c:v>
                </c:pt>
                <c:pt idx="31">
                  <c:v>828</c:v>
                </c:pt>
                <c:pt idx="32">
                  <c:v>747</c:v>
                </c:pt>
                <c:pt idx="33">
                  <c:v>444</c:v>
                </c:pt>
                <c:pt idx="34">
                  <c:v>246</c:v>
                </c:pt>
                <c:pt idx="35">
                  <c:v>689</c:v>
                </c:pt>
                <c:pt idx="36">
                  <c:v>767</c:v>
                </c:pt>
                <c:pt idx="37">
                  <c:v>775</c:v>
                </c:pt>
                <c:pt idx="38">
                  <c:v>723</c:v>
                </c:pt>
                <c:pt idx="39">
                  <c:v>981</c:v>
                </c:pt>
                <c:pt idx="40">
                  <c:v>391</c:v>
                </c:pt>
                <c:pt idx="41">
                  <c:v>199</c:v>
                </c:pt>
                <c:pt idx="42">
                  <c:v>709</c:v>
                </c:pt>
                <c:pt idx="43">
                  <c:v>751</c:v>
                </c:pt>
                <c:pt idx="44">
                  <c:v>648</c:v>
                </c:pt>
                <c:pt idx="45">
                  <c:v>455</c:v>
                </c:pt>
                <c:pt idx="46">
                  <c:v>253</c:v>
                </c:pt>
                <c:pt idx="47">
                  <c:v>475</c:v>
                </c:pt>
                <c:pt idx="48">
                  <c:v>114</c:v>
                </c:pt>
                <c:pt idx="49">
                  <c:v>551</c:v>
                </c:pt>
                <c:pt idx="50">
                  <c:v>541</c:v>
                </c:pt>
                <c:pt idx="51">
                  <c:v>474</c:v>
                </c:pt>
                <c:pt idx="52">
                  <c:v>370</c:v>
                </c:pt>
                <c:pt idx="53">
                  <c:v>361</c:v>
                </c:pt>
                <c:pt idx="54">
                  <c:v>167</c:v>
                </c:pt>
                <c:pt idx="55">
                  <c:v>83</c:v>
                </c:pt>
                <c:pt idx="56">
                  <c:v>378</c:v>
                </c:pt>
                <c:pt idx="57">
                  <c:v>380</c:v>
                </c:pt>
                <c:pt idx="58">
                  <c:v>287</c:v>
                </c:pt>
                <c:pt idx="59">
                  <c:v>321</c:v>
                </c:pt>
                <c:pt idx="60">
                  <c:v>127</c:v>
                </c:pt>
                <c:pt idx="61">
                  <c:v>94</c:v>
                </c:pt>
                <c:pt idx="62">
                  <c:v>118</c:v>
                </c:pt>
                <c:pt idx="63">
                  <c:v>32</c:v>
                </c:pt>
                <c:pt idx="64">
                  <c:v>272</c:v>
                </c:pt>
                <c:pt idx="65">
                  <c:v>273</c:v>
                </c:pt>
                <c:pt idx="66">
                  <c:v>273</c:v>
                </c:pt>
                <c:pt idx="67">
                  <c:v>198</c:v>
                </c:pt>
                <c:pt idx="68">
                  <c:v>50</c:v>
                </c:pt>
                <c:pt idx="69">
                  <c:v>48</c:v>
                </c:pt>
                <c:pt idx="70">
                  <c:v>214</c:v>
                </c:pt>
                <c:pt idx="71">
                  <c:v>170</c:v>
                </c:pt>
                <c:pt idx="72">
                  <c:v>108</c:v>
                </c:pt>
                <c:pt idx="73">
                  <c:v>143</c:v>
                </c:pt>
                <c:pt idx="74">
                  <c:v>115</c:v>
                </c:pt>
                <c:pt idx="75">
                  <c:v>25</c:v>
                </c:pt>
                <c:pt idx="76">
                  <c:v>35</c:v>
                </c:pt>
                <c:pt idx="77">
                  <c:v>148</c:v>
                </c:pt>
                <c:pt idx="78">
                  <c:v>133</c:v>
                </c:pt>
                <c:pt idx="79">
                  <c:v>106</c:v>
                </c:pt>
                <c:pt idx="80">
                  <c:v>89</c:v>
                </c:pt>
                <c:pt idx="81">
                  <c:v>98</c:v>
                </c:pt>
                <c:pt idx="82">
                  <c:v>32</c:v>
                </c:pt>
                <c:pt idx="83">
                  <c:v>28</c:v>
                </c:pt>
                <c:pt idx="84">
                  <c:v>117</c:v>
                </c:pt>
                <c:pt idx="85">
                  <c:v>93</c:v>
                </c:pt>
                <c:pt idx="86">
                  <c:v>69</c:v>
                </c:pt>
                <c:pt idx="87">
                  <c:v>77</c:v>
                </c:pt>
                <c:pt idx="88">
                  <c:v>79</c:v>
                </c:pt>
                <c:pt idx="89">
                  <c:v>4</c:v>
                </c:pt>
                <c:pt idx="90">
                  <c:v>30</c:v>
                </c:pt>
                <c:pt idx="91">
                  <c:v>111</c:v>
                </c:pt>
                <c:pt idx="92">
                  <c:v>78</c:v>
                </c:pt>
                <c:pt idx="93">
                  <c:v>56</c:v>
                </c:pt>
                <c:pt idx="94">
                  <c:v>65</c:v>
                </c:pt>
                <c:pt idx="95">
                  <c:v>55</c:v>
                </c:pt>
                <c:pt idx="96">
                  <c:v>11</c:v>
                </c:pt>
                <c:pt idx="97">
                  <c:v>15</c:v>
                </c:pt>
                <c:pt idx="98">
                  <c:v>69</c:v>
                </c:pt>
                <c:pt idx="99">
                  <c:v>72</c:v>
                </c:pt>
                <c:pt idx="100">
                  <c:v>43</c:v>
                </c:pt>
                <c:pt idx="101">
                  <c:v>34</c:v>
                </c:pt>
                <c:pt idx="102">
                  <c:v>50</c:v>
                </c:pt>
                <c:pt idx="103">
                  <c:v>11</c:v>
                </c:pt>
                <c:pt idx="104">
                  <c:v>12</c:v>
                </c:pt>
                <c:pt idx="105">
                  <c:v>61</c:v>
                </c:pt>
                <c:pt idx="106">
                  <c:v>42</c:v>
                </c:pt>
                <c:pt idx="107">
                  <c:v>38</c:v>
                </c:pt>
                <c:pt idx="108">
                  <c:v>47</c:v>
                </c:pt>
                <c:pt idx="109">
                  <c:v>43</c:v>
                </c:pt>
                <c:pt idx="110">
                  <c:v>16</c:v>
                </c:pt>
                <c:pt idx="111">
                  <c:v>12</c:v>
                </c:pt>
                <c:pt idx="112">
                  <c:v>36</c:v>
                </c:pt>
                <c:pt idx="113">
                  <c:v>34</c:v>
                </c:pt>
                <c:pt idx="114">
                  <c:v>22</c:v>
                </c:pt>
                <c:pt idx="115">
                  <c:v>22</c:v>
                </c:pt>
                <c:pt idx="116">
                  <c:v>22</c:v>
                </c:pt>
                <c:pt idx="117">
                  <c:v>11</c:v>
                </c:pt>
                <c:pt idx="118">
                  <c:v>7</c:v>
                </c:pt>
                <c:pt idx="119">
                  <c:v>37</c:v>
                </c:pt>
                <c:pt idx="120">
                  <c:v>38</c:v>
                </c:pt>
                <c:pt idx="121">
                  <c:v>19</c:v>
                </c:pt>
                <c:pt idx="122">
                  <c:v>20</c:v>
                </c:pt>
                <c:pt idx="123">
                  <c:v>27</c:v>
                </c:pt>
                <c:pt idx="124">
                  <c:v>2</c:v>
                </c:pt>
                <c:pt idx="125">
                  <c:v>15</c:v>
                </c:pt>
                <c:pt idx="126">
                  <c:v>16</c:v>
                </c:pt>
                <c:pt idx="127">
                  <c:v>18</c:v>
                </c:pt>
                <c:pt idx="128">
                  <c:v>21</c:v>
                </c:pt>
                <c:pt idx="129">
                  <c:v>23</c:v>
                </c:pt>
                <c:pt idx="130">
                  <c:v>8</c:v>
                </c:pt>
                <c:pt idx="131">
                  <c:v>0</c:v>
                </c:pt>
                <c:pt idx="132">
                  <c:v>3</c:v>
                </c:pt>
                <c:pt idx="133">
                  <c:v>19</c:v>
                </c:pt>
                <c:pt idx="134">
                  <c:v>17</c:v>
                </c:pt>
                <c:pt idx="135">
                  <c:v>8</c:v>
                </c:pt>
                <c:pt idx="136">
                  <c:v>4</c:v>
                </c:pt>
                <c:pt idx="137">
                  <c:v>6</c:v>
                </c:pt>
                <c:pt idx="138">
                  <c:v>0</c:v>
                </c:pt>
                <c:pt idx="139">
                  <c:v>8</c:v>
                </c:pt>
                <c:pt idx="140">
                  <c:v>9</c:v>
                </c:pt>
                <c:pt idx="141">
                  <c:v>5</c:v>
                </c:pt>
                <c:pt idx="142">
                  <c:v>7</c:v>
                </c:pt>
                <c:pt idx="143">
                  <c:v>3</c:v>
                </c:pt>
                <c:pt idx="144">
                  <c:v>4</c:v>
                </c:pt>
                <c:pt idx="145">
                  <c:v>2</c:v>
                </c:pt>
                <c:pt idx="146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C$155:$C$322</c:f>
              <c:numCache>
                <c:formatCode>General</c:formatCode>
                <c:ptCount val="16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14A-45E8-87A1-7BD2345ADB4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70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D$155:$D$322</c:f>
              <c:numCache>
                <c:formatCode>General</c:formatCode>
                <c:ptCount val="168"/>
                <c:pt idx="119">
                  <c:v>18</c:v>
                </c:pt>
                <c:pt idx="120">
                  <c:v>17</c:v>
                </c:pt>
                <c:pt idx="121">
                  <c:v>16</c:v>
                </c:pt>
                <c:pt idx="122">
                  <c:v>15</c:v>
                </c:pt>
                <c:pt idx="123">
                  <c:v>14</c:v>
                </c:pt>
                <c:pt idx="124">
                  <c:v>14</c:v>
                </c:pt>
                <c:pt idx="125">
                  <c:v>13</c:v>
                </c:pt>
                <c:pt idx="126">
                  <c:v>12</c:v>
                </c:pt>
                <c:pt idx="127">
                  <c:v>12</c:v>
                </c:pt>
                <c:pt idx="128">
                  <c:v>11</c:v>
                </c:pt>
                <c:pt idx="129">
                  <c:v>10</c:v>
                </c:pt>
                <c:pt idx="130">
                  <c:v>10</c:v>
                </c:pt>
                <c:pt idx="131">
                  <c:v>9</c:v>
                </c:pt>
                <c:pt idx="132">
                  <c:v>9</c:v>
                </c:pt>
                <c:pt idx="133">
                  <c:v>8</c:v>
                </c:pt>
                <c:pt idx="134">
                  <c:v>8</c:v>
                </c:pt>
                <c:pt idx="135">
                  <c:v>8</c:v>
                </c:pt>
                <c:pt idx="136">
                  <c:v>7</c:v>
                </c:pt>
                <c:pt idx="137">
                  <c:v>7</c:v>
                </c:pt>
                <c:pt idx="138">
                  <c:v>7</c:v>
                </c:pt>
                <c:pt idx="139">
                  <c:v>6</c:v>
                </c:pt>
                <c:pt idx="140">
                  <c:v>6</c:v>
                </c:pt>
                <c:pt idx="141">
                  <c:v>6</c:v>
                </c:pt>
                <c:pt idx="142">
                  <c:v>5</c:v>
                </c:pt>
                <c:pt idx="143">
                  <c:v>5</c:v>
                </c:pt>
                <c:pt idx="144">
                  <c:v>5</c:v>
                </c:pt>
                <c:pt idx="145">
                  <c:v>5</c:v>
                </c:pt>
                <c:pt idx="146">
                  <c:v>4</c:v>
                </c:pt>
                <c:pt idx="147">
                  <c:v>4</c:v>
                </c:pt>
                <c:pt idx="148">
                  <c:v>4</c:v>
                </c:pt>
                <c:pt idx="149">
                  <c:v>4</c:v>
                </c:pt>
                <c:pt idx="150">
                  <c:v>4</c:v>
                </c:pt>
                <c:pt idx="151">
                  <c:v>4</c:v>
                </c:pt>
                <c:pt idx="152">
                  <c:v>4</c:v>
                </c:pt>
                <c:pt idx="153">
                  <c:v>3</c:v>
                </c:pt>
                <c:pt idx="154">
                  <c:v>3</c:v>
                </c:pt>
                <c:pt idx="155">
                  <c:v>3</c:v>
                </c:pt>
                <c:pt idx="156">
                  <c:v>3</c:v>
                </c:pt>
                <c:pt idx="157">
                  <c:v>3</c:v>
                </c:pt>
                <c:pt idx="158">
                  <c:v>3</c:v>
                </c:pt>
                <c:pt idx="159">
                  <c:v>3</c:v>
                </c:pt>
                <c:pt idx="160">
                  <c:v>3</c:v>
                </c:pt>
                <c:pt idx="161">
                  <c:v>3</c:v>
                </c:pt>
                <c:pt idx="162">
                  <c:v>3</c:v>
                </c:pt>
                <c:pt idx="163">
                  <c:v>3</c:v>
                </c:pt>
                <c:pt idx="164">
                  <c:v>2</c:v>
                </c:pt>
                <c:pt idx="165">
                  <c:v>2</c:v>
                </c:pt>
                <c:pt idx="166">
                  <c:v>2</c:v>
                </c:pt>
                <c:pt idx="167">
                  <c:v>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14A-45E8-87A1-7BD2345ADB46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0,90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F$155:$F$322</c:f>
              <c:numCache>
                <c:formatCode>General</c:formatCode>
                <c:ptCount val="168"/>
                <c:pt idx="119">
                  <c:v>18</c:v>
                </c:pt>
                <c:pt idx="120">
                  <c:v>19</c:v>
                </c:pt>
                <c:pt idx="121">
                  <c:v>19</c:v>
                </c:pt>
                <c:pt idx="122">
                  <c:v>19</c:v>
                </c:pt>
                <c:pt idx="123">
                  <c:v>18</c:v>
                </c:pt>
                <c:pt idx="124">
                  <c:v>17</c:v>
                </c:pt>
                <c:pt idx="125">
                  <c:v>17</c:v>
                </c:pt>
                <c:pt idx="126">
                  <c:v>17</c:v>
                </c:pt>
                <c:pt idx="127">
                  <c:v>17</c:v>
                </c:pt>
                <c:pt idx="128">
                  <c:v>17</c:v>
                </c:pt>
                <c:pt idx="129">
                  <c:v>17</c:v>
                </c:pt>
                <c:pt idx="130">
                  <c:v>16</c:v>
                </c:pt>
                <c:pt idx="131">
                  <c:v>16</c:v>
                </c:pt>
                <c:pt idx="132">
                  <c:v>16</c:v>
                </c:pt>
                <c:pt idx="133">
                  <c:v>16</c:v>
                </c:pt>
                <c:pt idx="134">
                  <c:v>15</c:v>
                </c:pt>
                <c:pt idx="135">
                  <c:v>15</c:v>
                </c:pt>
                <c:pt idx="136">
                  <c:v>15</c:v>
                </c:pt>
                <c:pt idx="137">
                  <c:v>15</c:v>
                </c:pt>
                <c:pt idx="138">
                  <c:v>15</c:v>
                </c:pt>
                <c:pt idx="139">
                  <c:v>14</c:v>
                </c:pt>
                <c:pt idx="140">
                  <c:v>14</c:v>
                </c:pt>
                <c:pt idx="141">
                  <c:v>14</c:v>
                </c:pt>
                <c:pt idx="142">
                  <c:v>14</c:v>
                </c:pt>
                <c:pt idx="143">
                  <c:v>14</c:v>
                </c:pt>
                <c:pt idx="144">
                  <c:v>14</c:v>
                </c:pt>
                <c:pt idx="145">
                  <c:v>13</c:v>
                </c:pt>
                <c:pt idx="146">
                  <c:v>13</c:v>
                </c:pt>
                <c:pt idx="147">
                  <c:v>13</c:v>
                </c:pt>
                <c:pt idx="148">
                  <c:v>13</c:v>
                </c:pt>
                <c:pt idx="149">
                  <c:v>13</c:v>
                </c:pt>
                <c:pt idx="150">
                  <c:v>13</c:v>
                </c:pt>
                <c:pt idx="151">
                  <c:v>12</c:v>
                </c:pt>
                <c:pt idx="152">
                  <c:v>12</c:v>
                </c:pt>
                <c:pt idx="153">
                  <c:v>12</c:v>
                </c:pt>
                <c:pt idx="154">
                  <c:v>12</c:v>
                </c:pt>
                <c:pt idx="155">
                  <c:v>12</c:v>
                </c:pt>
                <c:pt idx="156">
                  <c:v>12</c:v>
                </c:pt>
                <c:pt idx="157">
                  <c:v>12</c:v>
                </c:pt>
                <c:pt idx="158">
                  <c:v>11</c:v>
                </c:pt>
                <c:pt idx="159">
                  <c:v>11</c:v>
                </c:pt>
                <c:pt idx="160">
                  <c:v>11</c:v>
                </c:pt>
                <c:pt idx="161">
                  <c:v>11</c:v>
                </c:pt>
                <c:pt idx="162">
                  <c:v>11</c:v>
                </c:pt>
                <c:pt idx="163">
                  <c:v>11</c:v>
                </c:pt>
                <c:pt idx="164">
                  <c:v>11</c:v>
                </c:pt>
                <c:pt idx="165">
                  <c:v>11</c:v>
                </c:pt>
                <c:pt idx="166">
                  <c:v>11</c:v>
                </c:pt>
                <c:pt idx="167">
                  <c:v>1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14A-45E8-87A1-7BD2345ADB46}"/>
            </c:ext>
          </c:extLst>
        </c:ser>
        <c:ser>
          <c:idx val="5"/>
          <c:order val="4"/>
          <c:tx>
            <c:strRef>
              <c:f>Sheet1!$G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G$155:$G$322</c:f>
              <c:numCache>
                <c:formatCode>General</c:formatCode>
                <c:ptCount val="168"/>
                <c:pt idx="119">
                  <c:v>18</c:v>
                </c:pt>
                <c:pt idx="120">
                  <c:v>21</c:v>
                </c:pt>
                <c:pt idx="121">
                  <c:v>22</c:v>
                </c:pt>
                <c:pt idx="122">
                  <c:v>22</c:v>
                </c:pt>
                <c:pt idx="123">
                  <c:v>21</c:v>
                </c:pt>
                <c:pt idx="124">
                  <c:v>22</c:v>
                </c:pt>
                <c:pt idx="125">
                  <c:v>22</c:v>
                </c:pt>
                <c:pt idx="126">
                  <c:v>23</c:v>
                </c:pt>
                <c:pt idx="127">
                  <c:v>24</c:v>
                </c:pt>
                <c:pt idx="128">
                  <c:v>24</c:v>
                </c:pt>
                <c:pt idx="129">
                  <c:v>24</c:v>
                </c:pt>
                <c:pt idx="130">
                  <c:v>25</c:v>
                </c:pt>
                <c:pt idx="131">
                  <c:v>25</c:v>
                </c:pt>
                <c:pt idx="132">
                  <c:v>26</c:v>
                </c:pt>
                <c:pt idx="133">
                  <c:v>27</c:v>
                </c:pt>
                <c:pt idx="134">
                  <c:v>27</c:v>
                </c:pt>
                <c:pt idx="135">
                  <c:v>28</c:v>
                </c:pt>
                <c:pt idx="136">
                  <c:v>28</c:v>
                </c:pt>
                <c:pt idx="137">
                  <c:v>29</c:v>
                </c:pt>
                <c:pt idx="138">
                  <c:v>29</c:v>
                </c:pt>
                <c:pt idx="139">
                  <c:v>30</c:v>
                </c:pt>
                <c:pt idx="140">
                  <c:v>31</c:v>
                </c:pt>
                <c:pt idx="141">
                  <c:v>31</c:v>
                </c:pt>
                <c:pt idx="142">
                  <c:v>32</c:v>
                </c:pt>
                <c:pt idx="143">
                  <c:v>33</c:v>
                </c:pt>
                <c:pt idx="144">
                  <c:v>33</c:v>
                </c:pt>
                <c:pt idx="145">
                  <c:v>34</c:v>
                </c:pt>
                <c:pt idx="146">
                  <c:v>34</c:v>
                </c:pt>
                <c:pt idx="147">
                  <c:v>35</c:v>
                </c:pt>
                <c:pt idx="148">
                  <c:v>36</c:v>
                </c:pt>
                <c:pt idx="149">
                  <c:v>37</c:v>
                </c:pt>
                <c:pt idx="150">
                  <c:v>37</c:v>
                </c:pt>
                <c:pt idx="151">
                  <c:v>38</c:v>
                </c:pt>
                <c:pt idx="152">
                  <c:v>39</c:v>
                </c:pt>
                <c:pt idx="153">
                  <c:v>40</c:v>
                </c:pt>
                <c:pt idx="154">
                  <c:v>40</c:v>
                </c:pt>
                <c:pt idx="155">
                  <c:v>41</c:v>
                </c:pt>
                <c:pt idx="156">
                  <c:v>42</c:v>
                </c:pt>
                <c:pt idx="157">
                  <c:v>43</c:v>
                </c:pt>
                <c:pt idx="158">
                  <c:v>43</c:v>
                </c:pt>
                <c:pt idx="159">
                  <c:v>44</c:v>
                </c:pt>
                <c:pt idx="160">
                  <c:v>45</c:v>
                </c:pt>
                <c:pt idx="161">
                  <c:v>46</c:v>
                </c:pt>
                <c:pt idx="162">
                  <c:v>47</c:v>
                </c:pt>
                <c:pt idx="163">
                  <c:v>48</c:v>
                </c:pt>
                <c:pt idx="164">
                  <c:v>49</c:v>
                </c:pt>
                <c:pt idx="165">
                  <c:v>50</c:v>
                </c:pt>
                <c:pt idx="166">
                  <c:v>51</c:v>
                </c:pt>
                <c:pt idx="167">
                  <c:v>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31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15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1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5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H$2:$H$169</c:f>
              <c:numCache>
                <c:formatCode>0</c:formatCode>
                <c:ptCount val="168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  <c:pt idx="126">
                  <c:v>100</c:v>
                </c:pt>
                <c:pt idx="127">
                  <c:v>100</c:v>
                </c:pt>
                <c:pt idx="128">
                  <c:v>100</c:v>
                </c:pt>
                <c:pt idx="129">
                  <c:v>100</c:v>
                </c:pt>
                <c:pt idx="130">
                  <c:v>100</c:v>
                </c:pt>
                <c:pt idx="131">
                  <c:v>100</c:v>
                </c:pt>
                <c:pt idx="132">
                  <c:v>100</c:v>
                </c:pt>
                <c:pt idx="133">
                  <c:v>100</c:v>
                </c:pt>
                <c:pt idx="134">
                  <c:v>100</c:v>
                </c:pt>
                <c:pt idx="135">
                  <c:v>100</c:v>
                </c:pt>
                <c:pt idx="136">
                  <c:v>100</c:v>
                </c:pt>
                <c:pt idx="137">
                  <c:v>100</c:v>
                </c:pt>
                <c:pt idx="138">
                  <c:v>100</c:v>
                </c:pt>
                <c:pt idx="139">
                  <c:v>100</c:v>
                </c:pt>
                <c:pt idx="140">
                  <c:v>100</c:v>
                </c:pt>
                <c:pt idx="141">
                  <c:v>100</c:v>
                </c:pt>
                <c:pt idx="142">
                  <c:v>100</c:v>
                </c:pt>
                <c:pt idx="143">
                  <c:v>100</c:v>
                </c:pt>
                <c:pt idx="144">
                  <c:v>100</c:v>
                </c:pt>
                <c:pt idx="145">
                  <c:v>100</c:v>
                </c:pt>
                <c:pt idx="146">
                  <c:v>100</c:v>
                </c:pt>
                <c:pt idx="147">
                  <c:v>100</c:v>
                </c:pt>
                <c:pt idx="148">
                  <c:v>100</c:v>
                </c:pt>
                <c:pt idx="149">
                  <c:v>100</c:v>
                </c:pt>
                <c:pt idx="150">
                  <c:v>100</c:v>
                </c:pt>
                <c:pt idx="151">
                  <c:v>100</c:v>
                </c:pt>
                <c:pt idx="152">
                  <c:v>100</c:v>
                </c:pt>
                <c:pt idx="153">
                  <c:v>100</c:v>
                </c:pt>
                <c:pt idx="154">
                  <c:v>100</c:v>
                </c:pt>
                <c:pt idx="155">
                  <c:v>100</c:v>
                </c:pt>
                <c:pt idx="156">
                  <c:v>100</c:v>
                </c:pt>
                <c:pt idx="157">
                  <c:v>100</c:v>
                </c:pt>
                <c:pt idx="158">
                  <c:v>100</c:v>
                </c:pt>
                <c:pt idx="159">
                  <c:v>100</c:v>
                </c:pt>
                <c:pt idx="160">
                  <c:v>100</c:v>
                </c:pt>
                <c:pt idx="161">
                  <c:v>100</c:v>
                </c:pt>
                <c:pt idx="162">
                  <c:v>100</c:v>
                </c:pt>
                <c:pt idx="163">
                  <c:v>100</c:v>
                </c:pt>
                <c:pt idx="164">
                  <c:v>100</c:v>
                </c:pt>
                <c:pt idx="165">
                  <c:v>100</c:v>
                </c:pt>
                <c:pt idx="166">
                  <c:v>100</c:v>
                </c:pt>
                <c:pt idx="167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EF5-483F-B422-4E0629062509}"/>
            </c:ext>
          </c:extLst>
        </c:ser>
        <c:ser>
          <c:idx val="7"/>
          <c:order val="6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rgbClr val="C2FFDF"/>
            </a:solidFill>
            <a:ln>
              <a:noFill/>
            </a:ln>
            <a:effectLst/>
          </c:spP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I$2:$I$169</c:f>
              <c:numCache>
                <c:formatCode>0</c:formatCode>
                <c:ptCount val="168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  <c:pt idx="79">
                  <c:v>50</c:v>
                </c:pt>
                <c:pt idx="80">
                  <c:v>50</c:v>
                </c:pt>
                <c:pt idx="81">
                  <c:v>50</c:v>
                </c:pt>
                <c:pt idx="82">
                  <c:v>50</c:v>
                </c:pt>
                <c:pt idx="83">
                  <c:v>50</c:v>
                </c:pt>
                <c:pt idx="84">
                  <c:v>50</c:v>
                </c:pt>
                <c:pt idx="85">
                  <c:v>50</c:v>
                </c:pt>
                <c:pt idx="86">
                  <c:v>50</c:v>
                </c:pt>
                <c:pt idx="87">
                  <c:v>50</c:v>
                </c:pt>
                <c:pt idx="88">
                  <c:v>50</c:v>
                </c:pt>
                <c:pt idx="89">
                  <c:v>50</c:v>
                </c:pt>
                <c:pt idx="90">
                  <c:v>50</c:v>
                </c:pt>
                <c:pt idx="91">
                  <c:v>50</c:v>
                </c:pt>
                <c:pt idx="92">
                  <c:v>50</c:v>
                </c:pt>
                <c:pt idx="93">
                  <c:v>50</c:v>
                </c:pt>
                <c:pt idx="94">
                  <c:v>50</c:v>
                </c:pt>
                <c:pt idx="95">
                  <c:v>50</c:v>
                </c:pt>
                <c:pt idx="96">
                  <c:v>50</c:v>
                </c:pt>
                <c:pt idx="97">
                  <c:v>50</c:v>
                </c:pt>
                <c:pt idx="98">
                  <c:v>50</c:v>
                </c:pt>
                <c:pt idx="99">
                  <c:v>50</c:v>
                </c:pt>
                <c:pt idx="100">
                  <c:v>50</c:v>
                </c:pt>
                <c:pt idx="101">
                  <c:v>50</c:v>
                </c:pt>
                <c:pt idx="102">
                  <c:v>50</c:v>
                </c:pt>
                <c:pt idx="103">
                  <c:v>50</c:v>
                </c:pt>
                <c:pt idx="104">
                  <c:v>50</c:v>
                </c:pt>
                <c:pt idx="105">
                  <c:v>50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  <c:pt idx="110">
                  <c:v>50</c:v>
                </c:pt>
                <c:pt idx="111">
                  <c:v>50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0</c:v>
                </c:pt>
                <c:pt idx="122">
                  <c:v>50</c:v>
                </c:pt>
                <c:pt idx="123">
                  <c:v>50</c:v>
                </c:pt>
                <c:pt idx="124">
                  <c:v>50</c:v>
                </c:pt>
                <c:pt idx="125">
                  <c:v>50</c:v>
                </c:pt>
                <c:pt idx="126">
                  <c:v>50</c:v>
                </c:pt>
                <c:pt idx="127">
                  <c:v>50</c:v>
                </c:pt>
                <c:pt idx="128">
                  <c:v>50</c:v>
                </c:pt>
                <c:pt idx="129">
                  <c:v>50</c:v>
                </c:pt>
                <c:pt idx="130">
                  <c:v>50</c:v>
                </c:pt>
                <c:pt idx="131">
                  <c:v>50</c:v>
                </c:pt>
                <c:pt idx="132">
                  <c:v>50</c:v>
                </c:pt>
                <c:pt idx="133">
                  <c:v>50</c:v>
                </c:pt>
                <c:pt idx="134">
                  <c:v>50</c:v>
                </c:pt>
                <c:pt idx="135">
                  <c:v>50</c:v>
                </c:pt>
                <c:pt idx="136">
                  <c:v>50</c:v>
                </c:pt>
                <c:pt idx="137">
                  <c:v>50</c:v>
                </c:pt>
                <c:pt idx="138">
                  <c:v>50</c:v>
                </c:pt>
                <c:pt idx="139">
                  <c:v>50</c:v>
                </c:pt>
                <c:pt idx="140">
                  <c:v>50</c:v>
                </c:pt>
                <c:pt idx="141">
                  <c:v>50</c:v>
                </c:pt>
                <c:pt idx="142">
                  <c:v>50</c:v>
                </c:pt>
                <c:pt idx="143">
                  <c:v>50</c:v>
                </c:pt>
                <c:pt idx="144">
                  <c:v>50</c:v>
                </c:pt>
                <c:pt idx="145">
                  <c:v>50</c:v>
                </c:pt>
                <c:pt idx="146">
                  <c:v>50</c:v>
                </c:pt>
                <c:pt idx="147">
                  <c:v>50</c:v>
                </c:pt>
                <c:pt idx="148">
                  <c:v>50</c:v>
                </c:pt>
                <c:pt idx="149">
                  <c:v>50</c:v>
                </c:pt>
                <c:pt idx="150">
                  <c:v>50</c:v>
                </c:pt>
                <c:pt idx="151">
                  <c:v>50</c:v>
                </c:pt>
                <c:pt idx="152">
                  <c:v>50</c:v>
                </c:pt>
                <c:pt idx="153">
                  <c:v>50</c:v>
                </c:pt>
                <c:pt idx="154">
                  <c:v>50</c:v>
                </c:pt>
                <c:pt idx="155">
                  <c:v>50</c:v>
                </c:pt>
                <c:pt idx="156">
                  <c:v>50</c:v>
                </c:pt>
                <c:pt idx="157">
                  <c:v>50</c:v>
                </c:pt>
                <c:pt idx="158">
                  <c:v>50</c:v>
                </c:pt>
                <c:pt idx="159">
                  <c:v>50</c:v>
                </c:pt>
                <c:pt idx="160">
                  <c:v>50</c:v>
                </c:pt>
                <c:pt idx="161">
                  <c:v>50</c:v>
                </c:pt>
                <c:pt idx="162">
                  <c:v>50</c:v>
                </c:pt>
                <c:pt idx="163">
                  <c:v>50</c:v>
                </c:pt>
                <c:pt idx="164">
                  <c:v>50</c:v>
                </c:pt>
                <c:pt idx="165">
                  <c:v>50</c:v>
                </c:pt>
                <c:pt idx="166">
                  <c:v>50</c:v>
                </c:pt>
                <c:pt idx="167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EF5-483F-B422-4E06290625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B$2:$B$169</c:f>
              <c:numCache>
                <c:formatCode>0</c:formatCode>
                <c:ptCount val="168"/>
                <c:pt idx="0">
                  <c:v>557.7703649463474</c:v>
                </c:pt>
                <c:pt idx="1">
                  <c:v>546.2443160759002</c:v>
                </c:pt>
                <c:pt idx="2">
                  <c:v>553.25034578146619</c:v>
                </c:pt>
                <c:pt idx="3">
                  <c:v>561.16037932000836</c:v>
                </c:pt>
                <c:pt idx="4">
                  <c:v>571.78242435747927</c:v>
                </c:pt>
                <c:pt idx="5">
                  <c:v>576.52844448060455</c:v>
                </c:pt>
                <c:pt idx="6">
                  <c:v>576.98044639709281</c:v>
                </c:pt>
                <c:pt idx="7">
                  <c:v>591.21850676646864</c:v>
                </c:pt>
                <c:pt idx="8">
                  <c:v>600.71054701271942</c:v>
                </c:pt>
                <c:pt idx="9">
                  <c:v>609.07258246774961</c:v>
                </c:pt>
                <c:pt idx="10">
                  <c:v>617.88661983926818</c:v>
                </c:pt>
                <c:pt idx="11">
                  <c:v>633.25468499986437</c:v>
                </c:pt>
                <c:pt idx="12">
                  <c:v>644.78073387031156</c:v>
                </c:pt>
                <c:pt idx="13">
                  <c:v>649.52675399343696</c:v>
                </c:pt>
                <c:pt idx="14">
                  <c:v>651.56076261763349</c:v>
                </c:pt>
                <c:pt idx="15">
                  <c:v>681.84489102233795</c:v>
                </c:pt>
                <c:pt idx="16">
                  <c:v>718.00504434138793</c:v>
                </c:pt>
                <c:pt idx="17">
                  <c:v>736.31112195915705</c:v>
                </c:pt>
                <c:pt idx="18">
                  <c:v>754.84320053517024</c:v>
                </c:pt>
                <c:pt idx="19">
                  <c:v>774.05328198591553</c:v>
                </c:pt>
                <c:pt idx="20">
                  <c:v>779.70330594201721</c:v>
                </c:pt>
                <c:pt idx="21">
                  <c:v>825.1294985490739</c:v>
                </c:pt>
                <c:pt idx="22">
                  <c:v>861.06365090987993</c:v>
                </c:pt>
                <c:pt idx="23">
                  <c:v>901.0658205190789</c:v>
                </c:pt>
                <c:pt idx="24">
                  <c:v>965.70209457688088</c:v>
                </c:pt>
                <c:pt idx="25">
                  <c:v>1018.8123197642358</c:v>
                </c:pt>
                <c:pt idx="26">
                  <c:v>1036.4403945072727</c:v>
                </c:pt>
                <c:pt idx="27">
                  <c:v>1054.5204711667977</c:v>
                </c:pt>
                <c:pt idx="28">
                  <c:v>1062.882506621828</c:v>
                </c:pt>
                <c:pt idx="29">
                  <c:v>1081.188584239597</c:v>
                </c:pt>
                <c:pt idx="30">
                  <c:v>1090.6806244858478</c:v>
                </c:pt>
                <c:pt idx="31">
                  <c:v>1084.8045995715022</c:v>
                </c:pt>
                <c:pt idx="32">
                  <c:v>1067.1765248284653</c:v>
                </c:pt>
                <c:pt idx="33">
                  <c:v>1076.6685650747158</c:v>
                </c:pt>
                <c:pt idx="34">
                  <c:v>1074.6345564505193</c:v>
                </c:pt>
                <c:pt idx="35">
                  <c:v>1058.3624874569468</c:v>
                </c:pt>
                <c:pt idx="36">
                  <c:v>1036.8923964237608</c:v>
                </c:pt>
                <c:pt idx="37">
                  <c:v>1016.100308265307</c:v>
                </c:pt>
                <c:pt idx="38">
                  <c:v>992.37020764968054</c:v>
                </c:pt>
                <c:pt idx="39">
                  <c:v>1045.2544318787911</c:v>
                </c:pt>
                <c:pt idx="40">
                  <c:v>1033.2763810918559</c:v>
                </c:pt>
                <c:pt idx="41">
                  <c:v>1022.6543360543849</c:v>
                </c:pt>
                <c:pt idx="42">
                  <c:v>1027.1743552192661</c:v>
                </c:pt>
                <c:pt idx="43">
                  <c:v>1023.5583398873611</c:v>
                </c:pt>
                <c:pt idx="44">
                  <c:v>994.8562181903651</c:v>
                </c:pt>
                <c:pt idx="45">
                  <c:v>934.28796138095618</c:v>
                </c:pt>
                <c:pt idx="46">
                  <c:v>769.7592637792784</c:v>
                </c:pt>
                <c:pt idx="47">
                  <c:v>788.74334427177973</c:v>
                </c:pt>
                <c:pt idx="48">
                  <c:v>769.53326282103444</c:v>
                </c:pt>
                <c:pt idx="49">
                  <c:v>733.82511141847237</c:v>
                </c:pt>
                <c:pt idx="50">
                  <c:v>686.36491018721915</c:v>
                </c:pt>
                <c:pt idx="51">
                  <c:v>647.04074345275228</c:v>
                </c:pt>
                <c:pt idx="52">
                  <c:v>627.83066200200687</c:v>
                </c:pt>
                <c:pt idx="53">
                  <c:v>652.2387654923657</c:v>
                </c:pt>
                <c:pt idx="54">
                  <c:v>582.63047035319426</c:v>
                </c:pt>
                <c:pt idx="55">
                  <c:v>575.62444064762838</c:v>
                </c:pt>
                <c:pt idx="56">
                  <c:v>536.52627487140546</c:v>
                </c:pt>
                <c:pt idx="57">
                  <c:v>500.14012059411129</c:v>
                </c:pt>
                <c:pt idx="58">
                  <c:v>457.87794140247155</c:v>
                </c:pt>
                <c:pt idx="59">
                  <c:v>446.80389444851244</c:v>
                </c:pt>
                <c:pt idx="60">
                  <c:v>393.91967021940172</c:v>
                </c:pt>
                <c:pt idx="61">
                  <c:v>377.42160026758512</c:v>
                </c:pt>
                <c:pt idx="62">
                  <c:v>385.33163380612734</c:v>
                </c:pt>
                <c:pt idx="63">
                  <c:v>307.13530225368157</c:v>
                </c:pt>
                <c:pt idx="64">
                  <c:v>282.72719876332275</c:v>
                </c:pt>
                <c:pt idx="65">
                  <c:v>279.56318534790591</c:v>
                </c:pt>
                <c:pt idx="66">
                  <c:v>268.71513935219087</c:v>
                </c:pt>
                <c:pt idx="67">
                  <c:v>284.76120738751933</c:v>
                </c:pt>
                <c:pt idx="68">
                  <c:v>274.81716522478052</c:v>
                </c:pt>
                <c:pt idx="69">
                  <c:v>258.99709814769614</c:v>
                </c:pt>
                <c:pt idx="70">
                  <c:v>300.12927254811558</c:v>
                </c:pt>
                <c:pt idx="71">
                  <c:v>277.07717480722118</c:v>
                </c:pt>
                <c:pt idx="72">
                  <c:v>239.78701669695079</c:v>
                </c:pt>
                <c:pt idx="73">
                  <c:v>210.40689212522261</c:v>
                </c:pt>
                <c:pt idx="74">
                  <c:v>191.64881259096538</c:v>
                </c:pt>
                <c:pt idx="75">
                  <c:v>185.99878863486381</c:v>
                </c:pt>
                <c:pt idx="76">
                  <c:v>183.060776177691</c:v>
                </c:pt>
                <c:pt idx="77">
                  <c:v>168.14471293358284</c:v>
                </c:pt>
                <c:pt idx="78">
                  <c:v>159.7826774785525</c:v>
                </c:pt>
                <c:pt idx="79">
                  <c:v>159.33067556206439</c:v>
                </c:pt>
                <c:pt idx="80">
                  <c:v>147.12662381688497</c:v>
                </c:pt>
                <c:pt idx="81">
                  <c:v>143.28460752673593</c:v>
                </c:pt>
                <c:pt idx="82">
                  <c:v>144.86661423444434</c:v>
                </c:pt>
                <c:pt idx="83">
                  <c:v>143.28460752673593</c:v>
                </c:pt>
                <c:pt idx="84">
                  <c:v>136.27857782116996</c:v>
                </c:pt>
                <c:pt idx="85">
                  <c:v>127.23853949140745</c:v>
                </c:pt>
                <c:pt idx="86">
                  <c:v>118.87650403637711</c:v>
                </c:pt>
                <c:pt idx="87">
                  <c:v>116.16449253744835</c:v>
                </c:pt>
                <c:pt idx="88">
                  <c:v>111.87047433081115</c:v>
                </c:pt>
                <c:pt idx="89">
                  <c:v>105.5424474999774</c:v>
                </c:pt>
                <c:pt idx="90">
                  <c:v>105.99444941646553</c:v>
                </c:pt>
                <c:pt idx="91">
                  <c:v>104.63844366700114</c:v>
                </c:pt>
                <c:pt idx="92">
                  <c:v>101.24842929334021</c:v>
                </c:pt>
                <c:pt idx="93">
                  <c:v>98.310416836167377</c:v>
                </c:pt>
                <c:pt idx="94">
                  <c:v>95.598405337238631</c:v>
                </c:pt>
                <c:pt idx="95">
                  <c:v>90.174382339381125</c:v>
                </c:pt>
                <c:pt idx="96">
                  <c:v>91.756389047089556</c:v>
                </c:pt>
                <c:pt idx="97">
                  <c:v>88.366374673428624</c:v>
                </c:pt>
                <c:pt idx="98">
                  <c:v>78.87433442717797</c:v>
                </c:pt>
                <c:pt idx="99">
                  <c:v>77.518328677713598</c:v>
                </c:pt>
                <c:pt idx="100">
                  <c:v>74.580316220540766</c:v>
                </c:pt>
                <c:pt idx="101">
                  <c:v>67.574286514974816</c:v>
                </c:pt>
                <c:pt idx="102">
                  <c:v>66.444281723754514</c:v>
                </c:pt>
                <c:pt idx="103">
                  <c:v>66.444281723754514</c:v>
                </c:pt>
                <c:pt idx="104">
                  <c:v>65.766278849022328</c:v>
                </c:pt>
                <c:pt idx="105">
                  <c:v>63.958271183069819</c:v>
                </c:pt>
                <c:pt idx="106">
                  <c:v>57.178242435747926</c:v>
                </c:pt>
                <c:pt idx="107">
                  <c:v>56.048237644527617</c:v>
                </c:pt>
                <c:pt idx="108">
                  <c:v>58.986250101700428</c:v>
                </c:pt>
                <c:pt idx="109">
                  <c:v>57.40424339399199</c:v>
                </c:pt>
                <c:pt idx="110">
                  <c:v>58.534248185212306</c:v>
                </c:pt>
                <c:pt idx="111">
                  <c:v>58.534248185212306</c:v>
                </c:pt>
                <c:pt idx="112">
                  <c:v>52.884224229110728</c:v>
                </c:pt>
                <c:pt idx="113">
                  <c:v>51.076216563158226</c:v>
                </c:pt>
                <c:pt idx="114">
                  <c:v>47.460201231253222</c:v>
                </c:pt>
                <c:pt idx="115">
                  <c:v>41.810177275151645</c:v>
                </c:pt>
                <c:pt idx="116">
                  <c:v>37.064157152026326</c:v>
                </c:pt>
                <c:pt idx="117">
                  <c:v>35.93415236080601</c:v>
                </c:pt>
                <c:pt idx="118">
                  <c:v>34.804147569585695</c:v>
                </c:pt>
                <c:pt idx="119">
                  <c:v>35.030148527829759</c:v>
                </c:pt>
                <c:pt idx="120">
                  <c:v>35.93415236080601</c:v>
                </c:pt>
                <c:pt idx="121">
                  <c:v>35.256149486073824</c:v>
                </c:pt>
                <c:pt idx="122">
                  <c:v>34.804147569585695</c:v>
                </c:pt>
                <c:pt idx="123">
                  <c:v>35.93415236080601</c:v>
                </c:pt>
                <c:pt idx="124">
                  <c:v>33.900143736609444</c:v>
                </c:pt>
                <c:pt idx="125">
                  <c:v>35.708151402561946</c:v>
                </c:pt>
                <c:pt idx="126">
                  <c:v>30.962131279436626</c:v>
                </c:pt>
                <c:pt idx="127">
                  <c:v>26.442112114555364</c:v>
                </c:pt>
                <c:pt idx="128">
                  <c:v>26.89411403104349</c:v>
                </c:pt>
                <c:pt idx="129">
                  <c:v>27.572116905775683</c:v>
                </c:pt>
                <c:pt idx="130">
                  <c:v>23.278098699138482</c:v>
                </c:pt>
                <c:pt idx="131">
                  <c:v>22.826096782650357</c:v>
                </c:pt>
                <c:pt idx="132">
                  <c:v>20.114085283721604</c:v>
                </c:pt>
                <c:pt idx="133">
                  <c:v>20.792088158453794</c:v>
                </c:pt>
                <c:pt idx="134">
                  <c:v>20.566087200209729</c:v>
                </c:pt>
                <c:pt idx="135">
                  <c:v>17.628074743036912</c:v>
                </c:pt>
                <c:pt idx="136">
                  <c:v>13.334056536399714</c:v>
                </c:pt>
                <c:pt idx="137">
                  <c:v>12.882054619911589</c:v>
                </c:pt>
                <c:pt idx="138">
                  <c:v>12.882054619911589</c:v>
                </c:pt>
                <c:pt idx="139">
                  <c:v>14.012059411131904</c:v>
                </c:pt>
                <c:pt idx="140">
                  <c:v>11.752049828691273</c:v>
                </c:pt>
                <c:pt idx="141">
                  <c:v>9.0400383297625186</c:v>
                </c:pt>
                <c:pt idx="142">
                  <c:v>8.8140373715184559</c:v>
                </c:pt>
                <c:pt idx="143">
                  <c:v>8.5880364132743914</c:v>
                </c:pt>
                <c:pt idx="144">
                  <c:v>8.1360344967862659</c:v>
                </c:pt>
                <c:pt idx="145">
                  <c:v>8.5880364132743914</c:v>
                </c:pt>
                <c:pt idx="146">
                  <c:v>8.13603449678626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C$2:$C$169</c:f>
              <c:numCache>
                <c:formatCode>General</c:formatCode>
                <c:ptCount val="16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14A-45E8-87A1-7BD2345ADB4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75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D$2:$D$169</c:f>
              <c:numCache>
                <c:formatCode>General</c:formatCode>
                <c:ptCount val="168"/>
                <c:pt idx="119">
                  <c:v>35.482150444317888</c:v>
                </c:pt>
                <c:pt idx="120">
                  <c:v>33.222140861877257</c:v>
                </c:pt>
                <c:pt idx="121">
                  <c:v>30.962131279436626</c:v>
                </c:pt>
                <c:pt idx="122">
                  <c:v>28.92812265524006</c:v>
                </c:pt>
                <c:pt idx="123">
                  <c:v>27.120114989287554</c:v>
                </c:pt>
                <c:pt idx="124">
                  <c:v>25.538108281579113</c:v>
                </c:pt>
                <c:pt idx="125">
                  <c:v>24.182102532114737</c:v>
                </c:pt>
                <c:pt idx="126">
                  <c:v>22.826096782650357</c:v>
                </c:pt>
                <c:pt idx="127">
                  <c:v>21.696091991430041</c:v>
                </c:pt>
                <c:pt idx="128">
                  <c:v>20.566087200209729</c:v>
                </c:pt>
                <c:pt idx="129">
                  <c:v>19.436082408989414</c:v>
                </c:pt>
                <c:pt idx="130">
                  <c:v>18.532078576013163</c:v>
                </c:pt>
                <c:pt idx="131">
                  <c:v>17.402073784792847</c:v>
                </c:pt>
                <c:pt idx="132">
                  <c:v>16.498069951816596</c:v>
                </c:pt>
                <c:pt idx="133">
                  <c:v>15.594066118840344</c:v>
                </c:pt>
                <c:pt idx="134">
                  <c:v>14.690062285864093</c:v>
                </c:pt>
                <c:pt idx="135">
                  <c:v>14.012059411131904</c:v>
                </c:pt>
                <c:pt idx="136">
                  <c:v>13.334056536399714</c:v>
                </c:pt>
                <c:pt idx="137">
                  <c:v>12.656053661667526</c:v>
                </c:pt>
                <c:pt idx="138">
                  <c:v>12.204051745179399</c:v>
                </c:pt>
                <c:pt idx="139">
                  <c:v>11.526048870447211</c:v>
                </c:pt>
                <c:pt idx="140">
                  <c:v>11.074046953959085</c:v>
                </c:pt>
                <c:pt idx="141">
                  <c:v>10.62204503747096</c:v>
                </c:pt>
                <c:pt idx="142">
                  <c:v>9.9440421627387696</c:v>
                </c:pt>
                <c:pt idx="143">
                  <c:v>9.4920402462506441</c:v>
                </c:pt>
                <c:pt idx="144">
                  <c:v>9.0400383297625186</c:v>
                </c:pt>
                <c:pt idx="145">
                  <c:v>8.5880364132743914</c:v>
                </c:pt>
                <c:pt idx="146">
                  <c:v>8.1360344967862659</c:v>
                </c:pt>
                <c:pt idx="147">
                  <c:v>7.6840325802981395</c:v>
                </c:pt>
                <c:pt idx="148">
                  <c:v>7.2320306638100149</c:v>
                </c:pt>
                <c:pt idx="149">
                  <c:v>7.0060297055659522</c:v>
                </c:pt>
                <c:pt idx="150">
                  <c:v>6.7800287473218885</c:v>
                </c:pt>
                <c:pt idx="151">
                  <c:v>6.5540277890778258</c:v>
                </c:pt>
                <c:pt idx="152">
                  <c:v>6.3280268308337631</c:v>
                </c:pt>
                <c:pt idx="153">
                  <c:v>6.1020258725896994</c:v>
                </c:pt>
                <c:pt idx="154">
                  <c:v>5.8760249143456367</c:v>
                </c:pt>
                <c:pt idx="155">
                  <c:v>5.6500239561015739</c:v>
                </c:pt>
                <c:pt idx="156">
                  <c:v>5.4240229978575103</c:v>
                </c:pt>
                <c:pt idx="157">
                  <c:v>5.1980220396134484</c:v>
                </c:pt>
                <c:pt idx="158">
                  <c:v>4.9720210813693848</c:v>
                </c:pt>
                <c:pt idx="159">
                  <c:v>4.7460201231253221</c:v>
                </c:pt>
                <c:pt idx="160">
                  <c:v>4.7460201231253221</c:v>
                </c:pt>
                <c:pt idx="161">
                  <c:v>4.7460201231253221</c:v>
                </c:pt>
                <c:pt idx="162">
                  <c:v>4.7460201231253221</c:v>
                </c:pt>
                <c:pt idx="163">
                  <c:v>4.7460201231253221</c:v>
                </c:pt>
                <c:pt idx="164">
                  <c:v>4.5200191648812593</c:v>
                </c:pt>
                <c:pt idx="165">
                  <c:v>4.2940182066371957</c:v>
                </c:pt>
                <c:pt idx="166">
                  <c:v>4.0680172483931329</c:v>
                </c:pt>
                <c:pt idx="167">
                  <c:v>3.84201629014906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14A-45E8-87A1-7BD2345ADB46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0,95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F$2:$F$169</c:f>
              <c:numCache>
                <c:formatCode>General</c:formatCode>
                <c:ptCount val="168"/>
                <c:pt idx="119">
                  <c:v>35.482150444317888</c:v>
                </c:pt>
                <c:pt idx="120">
                  <c:v>33.674142778365379</c:v>
                </c:pt>
                <c:pt idx="121">
                  <c:v>32.092136070656935</c:v>
                </c:pt>
                <c:pt idx="122">
                  <c:v>30.962131279436626</c:v>
                </c:pt>
                <c:pt idx="123">
                  <c:v>30.058127446460372</c:v>
                </c:pt>
                <c:pt idx="124">
                  <c:v>29.154123613484121</c:v>
                </c:pt>
                <c:pt idx="125">
                  <c:v>28.702121696995995</c:v>
                </c:pt>
                <c:pt idx="126">
                  <c:v>28.476120738751934</c:v>
                </c:pt>
                <c:pt idx="127">
                  <c:v>28.024118822263809</c:v>
                </c:pt>
                <c:pt idx="128">
                  <c:v>27.572116905775683</c:v>
                </c:pt>
                <c:pt idx="129">
                  <c:v>27.120114989287554</c:v>
                </c:pt>
                <c:pt idx="130">
                  <c:v>26.668113072799429</c:v>
                </c:pt>
                <c:pt idx="131">
                  <c:v>26.442112114555364</c:v>
                </c:pt>
                <c:pt idx="132">
                  <c:v>26.216111156311303</c:v>
                </c:pt>
                <c:pt idx="133">
                  <c:v>25.990110198067239</c:v>
                </c:pt>
                <c:pt idx="134">
                  <c:v>25.538108281579113</c:v>
                </c:pt>
                <c:pt idx="135">
                  <c:v>25.086106365090984</c:v>
                </c:pt>
                <c:pt idx="136">
                  <c:v>24.634104448602859</c:v>
                </c:pt>
                <c:pt idx="137">
                  <c:v>24.408103490358798</c:v>
                </c:pt>
                <c:pt idx="138">
                  <c:v>24.182102532114737</c:v>
                </c:pt>
                <c:pt idx="139">
                  <c:v>23.730100615626611</c:v>
                </c:pt>
                <c:pt idx="140">
                  <c:v>23.278098699138482</c:v>
                </c:pt>
                <c:pt idx="141">
                  <c:v>23.052097740894421</c:v>
                </c:pt>
                <c:pt idx="142">
                  <c:v>22.826096782650357</c:v>
                </c:pt>
                <c:pt idx="143">
                  <c:v>22.600095824406296</c:v>
                </c:pt>
                <c:pt idx="144">
                  <c:v>22.374094866162231</c:v>
                </c:pt>
                <c:pt idx="145">
                  <c:v>21.922092949674106</c:v>
                </c:pt>
                <c:pt idx="146">
                  <c:v>21.696091991430041</c:v>
                </c:pt>
                <c:pt idx="147">
                  <c:v>21.47009103318598</c:v>
                </c:pt>
                <c:pt idx="148">
                  <c:v>21.244090074941919</c:v>
                </c:pt>
                <c:pt idx="149">
                  <c:v>21.018089116697855</c:v>
                </c:pt>
                <c:pt idx="150">
                  <c:v>20.792088158453794</c:v>
                </c:pt>
                <c:pt idx="151">
                  <c:v>20.340086241965668</c:v>
                </c:pt>
                <c:pt idx="152">
                  <c:v>20.114085283721604</c:v>
                </c:pt>
                <c:pt idx="153">
                  <c:v>19.888084325477539</c:v>
                </c:pt>
                <c:pt idx="154">
                  <c:v>19.662083367233478</c:v>
                </c:pt>
                <c:pt idx="155">
                  <c:v>19.436082408989414</c:v>
                </c:pt>
                <c:pt idx="156">
                  <c:v>19.210081450745353</c:v>
                </c:pt>
                <c:pt idx="157">
                  <c:v>18.984080492501288</c:v>
                </c:pt>
                <c:pt idx="158">
                  <c:v>18.758079534257224</c:v>
                </c:pt>
                <c:pt idx="159">
                  <c:v>18.532078576013163</c:v>
                </c:pt>
                <c:pt idx="160">
                  <c:v>18.306077617769098</c:v>
                </c:pt>
                <c:pt idx="161">
                  <c:v>18.080076659525037</c:v>
                </c:pt>
                <c:pt idx="162">
                  <c:v>17.854075701280973</c:v>
                </c:pt>
                <c:pt idx="163">
                  <c:v>17.628074743036912</c:v>
                </c:pt>
                <c:pt idx="164">
                  <c:v>17.402073784792847</c:v>
                </c:pt>
                <c:pt idx="165">
                  <c:v>17.402073784792847</c:v>
                </c:pt>
                <c:pt idx="166">
                  <c:v>17.402073784792847</c:v>
                </c:pt>
                <c:pt idx="167">
                  <c:v>17.1760728265487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14A-45E8-87A1-7BD2345ADB46}"/>
            </c:ext>
          </c:extLst>
        </c:ser>
        <c:ser>
          <c:idx val="5"/>
          <c:order val="4"/>
          <c:tx>
            <c:strRef>
              <c:f>Sheet1!$G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G$2:$G$169</c:f>
              <c:numCache>
                <c:formatCode>General</c:formatCode>
                <c:ptCount val="168"/>
                <c:pt idx="119">
                  <c:v>35.482150444317888</c:v>
                </c:pt>
                <c:pt idx="120">
                  <c:v>34.126144694853508</c:v>
                </c:pt>
                <c:pt idx="121">
                  <c:v>33.222140861877257</c:v>
                </c:pt>
                <c:pt idx="122">
                  <c:v>32.770138945389128</c:v>
                </c:pt>
                <c:pt idx="123">
                  <c:v>32.544137987145064</c:v>
                </c:pt>
                <c:pt idx="124">
                  <c:v>32.770138945389128</c:v>
                </c:pt>
                <c:pt idx="125">
                  <c:v>33.448141820121315</c:v>
                </c:pt>
                <c:pt idx="126">
                  <c:v>34.578146611341637</c:v>
                </c:pt>
                <c:pt idx="127">
                  <c:v>35.256149486073824</c:v>
                </c:pt>
                <c:pt idx="128">
                  <c:v>35.708151402561946</c:v>
                </c:pt>
                <c:pt idx="129">
                  <c:v>36.160153319050075</c:v>
                </c:pt>
                <c:pt idx="130">
                  <c:v>37.064157152026326</c:v>
                </c:pt>
                <c:pt idx="131">
                  <c:v>37.742160026758512</c:v>
                </c:pt>
                <c:pt idx="132">
                  <c:v>38.646163859734763</c:v>
                </c:pt>
                <c:pt idx="133">
                  <c:v>39.550167692711014</c:v>
                </c:pt>
                <c:pt idx="134">
                  <c:v>40.228170567443208</c:v>
                </c:pt>
                <c:pt idx="135">
                  <c:v>41.132174400419458</c:v>
                </c:pt>
                <c:pt idx="136">
                  <c:v>42.036178233395709</c:v>
                </c:pt>
                <c:pt idx="137">
                  <c:v>42.94018206637196</c:v>
                </c:pt>
                <c:pt idx="138">
                  <c:v>43.844185899348211</c:v>
                </c:pt>
                <c:pt idx="139">
                  <c:v>44.748189732324462</c:v>
                </c:pt>
                <c:pt idx="140">
                  <c:v>45.652193565300713</c:v>
                </c:pt>
                <c:pt idx="141">
                  <c:v>46.556197398276964</c:v>
                </c:pt>
                <c:pt idx="142">
                  <c:v>47.460201231253222</c:v>
                </c:pt>
                <c:pt idx="143">
                  <c:v>48.590206022473538</c:v>
                </c:pt>
                <c:pt idx="144">
                  <c:v>49.494209855449782</c:v>
                </c:pt>
                <c:pt idx="145">
                  <c:v>50.624214646670104</c:v>
                </c:pt>
                <c:pt idx="146">
                  <c:v>51.528218479646355</c:v>
                </c:pt>
                <c:pt idx="147">
                  <c:v>52.432222312622606</c:v>
                </c:pt>
                <c:pt idx="148">
                  <c:v>53.562227103842922</c:v>
                </c:pt>
                <c:pt idx="149">
                  <c:v>54.69223189506323</c:v>
                </c:pt>
                <c:pt idx="150">
                  <c:v>55.596235728039481</c:v>
                </c:pt>
                <c:pt idx="151">
                  <c:v>56.726240519259804</c:v>
                </c:pt>
                <c:pt idx="152">
                  <c:v>57.856245310480119</c:v>
                </c:pt>
                <c:pt idx="153">
                  <c:v>59.212251059944492</c:v>
                </c:pt>
                <c:pt idx="154">
                  <c:v>60.342255851164815</c:v>
                </c:pt>
                <c:pt idx="155">
                  <c:v>61.472260642385116</c:v>
                </c:pt>
                <c:pt idx="156">
                  <c:v>62.602265433605439</c:v>
                </c:pt>
                <c:pt idx="157">
                  <c:v>63.958271183069819</c:v>
                </c:pt>
                <c:pt idx="158">
                  <c:v>65.088275974290127</c:v>
                </c:pt>
                <c:pt idx="159">
                  <c:v>66.218280765510443</c:v>
                </c:pt>
                <c:pt idx="160">
                  <c:v>67.348285556730758</c:v>
                </c:pt>
                <c:pt idx="161">
                  <c:v>68.704291306195131</c:v>
                </c:pt>
                <c:pt idx="162">
                  <c:v>70.060297055659518</c:v>
                </c:pt>
                <c:pt idx="163">
                  <c:v>71.416302805123891</c:v>
                </c:pt>
                <c:pt idx="164">
                  <c:v>72.772308554588278</c:v>
                </c:pt>
                <c:pt idx="165">
                  <c:v>74.354315262296709</c:v>
                </c:pt>
                <c:pt idx="166">
                  <c:v>75.936321970005153</c:v>
                </c:pt>
                <c:pt idx="167">
                  <c:v>77.5183286777135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31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2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B$155:$B$322</c:f>
              <c:numCache>
                <c:formatCode>0</c:formatCode>
                <c:ptCount val="168"/>
                <c:pt idx="0">
                  <c:v>518</c:v>
                </c:pt>
                <c:pt idx="1">
                  <c:v>882</c:v>
                </c:pt>
                <c:pt idx="2">
                  <c:v>1285</c:v>
                </c:pt>
                <c:pt idx="3">
                  <c:v>928</c:v>
                </c:pt>
                <c:pt idx="4">
                  <c:v>815</c:v>
                </c:pt>
                <c:pt idx="5">
                  <c:v>552</c:v>
                </c:pt>
                <c:pt idx="6">
                  <c:v>506</c:v>
                </c:pt>
                <c:pt idx="7">
                  <c:v>713</c:v>
                </c:pt>
                <c:pt idx="8">
                  <c:v>998</c:v>
                </c:pt>
                <c:pt idx="9">
                  <c:v>1038</c:v>
                </c:pt>
                <c:pt idx="10">
                  <c:v>980</c:v>
                </c:pt>
                <c:pt idx="11">
                  <c:v>680</c:v>
                </c:pt>
                <c:pt idx="12">
                  <c:v>682</c:v>
                </c:pt>
                <c:pt idx="13">
                  <c:v>406</c:v>
                </c:pt>
                <c:pt idx="14">
                  <c:v>866</c:v>
                </c:pt>
                <c:pt idx="15">
                  <c:v>982</c:v>
                </c:pt>
                <c:pt idx="16">
                  <c:v>778</c:v>
                </c:pt>
                <c:pt idx="17">
                  <c:v>1171</c:v>
                </c:pt>
                <c:pt idx="18">
                  <c:v>863</c:v>
                </c:pt>
                <c:pt idx="19">
                  <c:v>690</c:v>
                </c:pt>
                <c:pt idx="20">
                  <c:v>436</c:v>
                </c:pt>
                <c:pt idx="21">
                  <c:v>1044</c:v>
                </c:pt>
                <c:pt idx="22">
                  <c:v>928</c:v>
                </c:pt>
                <c:pt idx="23">
                  <c:v>1161</c:v>
                </c:pt>
                <c:pt idx="24">
                  <c:v>827</c:v>
                </c:pt>
                <c:pt idx="25">
                  <c:v>1014</c:v>
                </c:pt>
                <c:pt idx="26">
                  <c:v>496</c:v>
                </c:pt>
                <c:pt idx="27">
                  <c:v>645</c:v>
                </c:pt>
                <c:pt idx="28">
                  <c:v>763</c:v>
                </c:pt>
                <c:pt idx="29">
                  <c:v>952</c:v>
                </c:pt>
                <c:pt idx="30">
                  <c:v>845</c:v>
                </c:pt>
                <c:pt idx="31">
                  <c:v>805</c:v>
                </c:pt>
                <c:pt idx="32">
                  <c:v>763</c:v>
                </c:pt>
                <c:pt idx="33">
                  <c:v>593</c:v>
                </c:pt>
                <c:pt idx="34">
                  <c:v>377</c:v>
                </c:pt>
                <c:pt idx="35">
                  <c:v>513</c:v>
                </c:pt>
                <c:pt idx="36">
                  <c:v>675</c:v>
                </c:pt>
                <c:pt idx="37">
                  <c:v>683</c:v>
                </c:pt>
                <c:pt idx="38">
                  <c:v>524</c:v>
                </c:pt>
                <c:pt idx="39">
                  <c:v>783</c:v>
                </c:pt>
                <c:pt idx="40">
                  <c:v>278</c:v>
                </c:pt>
                <c:pt idx="41">
                  <c:v>211</c:v>
                </c:pt>
                <c:pt idx="42">
                  <c:v>533</c:v>
                </c:pt>
                <c:pt idx="43">
                  <c:v>496</c:v>
                </c:pt>
                <c:pt idx="44">
                  <c:v>448</c:v>
                </c:pt>
                <c:pt idx="45">
                  <c:v>381</c:v>
                </c:pt>
                <c:pt idx="46">
                  <c:v>346</c:v>
                </c:pt>
                <c:pt idx="47">
                  <c:v>229</c:v>
                </c:pt>
                <c:pt idx="48">
                  <c:v>139</c:v>
                </c:pt>
                <c:pt idx="49">
                  <c:v>313</c:v>
                </c:pt>
                <c:pt idx="50">
                  <c:v>365</c:v>
                </c:pt>
                <c:pt idx="51">
                  <c:v>269</c:v>
                </c:pt>
                <c:pt idx="52">
                  <c:v>232</c:v>
                </c:pt>
                <c:pt idx="53">
                  <c:v>241</c:v>
                </c:pt>
                <c:pt idx="54">
                  <c:v>140</c:v>
                </c:pt>
                <c:pt idx="55">
                  <c:v>83</c:v>
                </c:pt>
                <c:pt idx="56">
                  <c:v>253</c:v>
                </c:pt>
                <c:pt idx="57">
                  <c:v>221</c:v>
                </c:pt>
                <c:pt idx="58">
                  <c:v>172</c:v>
                </c:pt>
                <c:pt idx="59">
                  <c:v>147</c:v>
                </c:pt>
                <c:pt idx="60">
                  <c:v>94</c:v>
                </c:pt>
                <c:pt idx="61">
                  <c:v>76</c:v>
                </c:pt>
                <c:pt idx="62">
                  <c:v>64</c:v>
                </c:pt>
                <c:pt idx="63">
                  <c:v>77</c:v>
                </c:pt>
                <c:pt idx="64">
                  <c:v>130</c:v>
                </c:pt>
                <c:pt idx="65">
                  <c:v>137</c:v>
                </c:pt>
                <c:pt idx="66">
                  <c:v>130</c:v>
                </c:pt>
                <c:pt idx="67">
                  <c:v>80</c:v>
                </c:pt>
                <c:pt idx="68">
                  <c:v>58</c:v>
                </c:pt>
                <c:pt idx="69">
                  <c:v>59</c:v>
                </c:pt>
                <c:pt idx="70">
                  <c:v>48</c:v>
                </c:pt>
                <c:pt idx="71">
                  <c:v>109</c:v>
                </c:pt>
                <c:pt idx="72">
                  <c:v>90</c:v>
                </c:pt>
                <c:pt idx="73">
                  <c:v>65</c:v>
                </c:pt>
                <c:pt idx="74">
                  <c:v>47</c:v>
                </c:pt>
                <c:pt idx="75">
                  <c:v>40</c:v>
                </c:pt>
                <c:pt idx="76">
                  <c:v>44</c:v>
                </c:pt>
                <c:pt idx="77">
                  <c:v>40</c:v>
                </c:pt>
                <c:pt idx="78">
                  <c:v>70</c:v>
                </c:pt>
                <c:pt idx="79">
                  <c:v>50</c:v>
                </c:pt>
                <c:pt idx="80">
                  <c:v>40</c:v>
                </c:pt>
                <c:pt idx="81">
                  <c:v>38</c:v>
                </c:pt>
                <c:pt idx="82">
                  <c:v>38</c:v>
                </c:pt>
                <c:pt idx="83">
                  <c:v>22</c:v>
                </c:pt>
                <c:pt idx="84">
                  <c:v>59</c:v>
                </c:pt>
                <c:pt idx="85">
                  <c:v>44</c:v>
                </c:pt>
                <c:pt idx="86">
                  <c:v>53</c:v>
                </c:pt>
                <c:pt idx="87">
                  <c:v>62</c:v>
                </c:pt>
                <c:pt idx="88">
                  <c:v>39</c:v>
                </c:pt>
                <c:pt idx="89">
                  <c:v>40</c:v>
                </c:pt>
                <c:pt idx="90">
                  <c:v>15</c:v>
                </c:pt>
                <c:pt idx="91">
                  <c:v>29</c:v>
                </c:pt>
                <c:pt idx="92">
                  <c:v>40</c:v>
                </c:pt>
                <c:pt idx="93">
                  <c:v>43</c:v>
                </c:pt>
                <c:pt idx="94">
                  <c:v>25</c:v>
                </c:pt>
                <c:pt idx="95">
                  <c:v>40</c:v>
                </c:pt>
                <c:pt idx="96">
                  <c:v>10</c:v>
                </c:pt>
                <c:pt idx="97">
                  <c:v>22</c:v>
                </c:pt>
                <c:pt idx="98">
                  <c:v>16</c:v>
                </c:pt>
                <c:pt idx="99">
                  <c:v>26</c:v>
                </c:pt>
                <c:pt idx="100">
                  <c:v>29</c:v>
                </c:pt>
                <c:pt idx="101">
                  <c:v>32</c:v>
                </c:pt>
                <c:pt idx="102">
                  <c:v>22</c:v>
                </c:pt>
                <c:pt idx="103">
                  <c:v>10</c:v>
                </c:pt>
                <c:pt idx="104">
                  <c:v>17</c:v>
                </c:pt>
                <c:pt idx="105">
                  <c:v>25</c:v>
                </c:pt>
                <c:pt idx="106">
                  <c:v>28</c:v>
                </c:pt>
                <c:pt idx="107">
                  <c:v>8</c:v>
                </c:pt>
                <c:pt idx="108">
                  <c:v>19</c:v>
                </c:pt>
                <c:pt idx="109">
                  <c:v>11</c:v>
                </c:pt>
                <c:pt idx="110">
                  <c:v>10</c:v>
                </c:pt>
                <c:pt idx="111">
                  <c:v>9</c:v>
                </c:pt>
                <c:pt idx="112">
                  <c:v>9</c:v>
                </c:pt>
                <c:pt idx="113">
                  <c:v>12</c:v>
                </c:pt>
                <c:pt idx="114">
                  <c:v>13</c:v>
                </c:pt>
                <c:pt idx="115">
                  <c:v>9</c:v>
                </c:pt>
                <c:pt idx="116">
                  <c:v>14</c:v>
                </c:pt>
                <c:pt idx="117">
                  <c:v>1</c:v>
                </c:pt>
                <c:pt idx="118">
                  <c:v>3</c:v>
                </c:pt>
                <c:pt idx="119">
                  <c:v>6</c:v>
                </c:pt>
                <c:pt idx="120">
                  <c:v>10</c:v>
                </c:pt>
                <c:pt idx="121">
                  <c:v>6</c:v>
                </c:pt>
                <c:pt idx="122">
                  <c:v>7</c:v>
                </c:pt>
                <c:pt idx="123">
                  <c:v>7</c:v>
                </c:pt>
                <c:pt idx="124">
                  <c:v>2</c:v>
                </c:pt>
                <c:pt idx="125">
                  <c:v>0</c:v>
                </c:pt>
                <c:pt idx="126">
                  <c:v>2</c:v>
                </c:pt>
                <c:pt idx="127">
                  <c:v>4</c:v>
                </c:pt>
                <c:pt idx="128">
                  <c:v>3</c:v>
                </c:pt>
                <c:pt idx="129">
                  <c:v>1</c:v>
                </c:pt>
                <c:pt idx="130">
                  <c:v>3</c:v>
                </c:pt>
                <c:pt idx="131">
                  <c:v>3</c:v>
                </c:pt>
                <c:pt idx="132">
                  <c:v>0</c:v>
                </c:pt>
                <c:pt idx="133">
                  <c:v>5</c:v>
                </c:pt>
                <c:pt idx="134">
                  <c:v>4</c:v>
                </c:pt>
                <c:pt idx="135">
                  <c:v>1</c:v>
                </c:pt>
                <c:pt idx="136">
                  <c:v>2</c:v>
                </c:pt>
                <c:pt idx="137">
                  <c:v>2</c:v>
                </c:pt>
                <c:pt idx="138">
                  <c:v>1</c:v>
                </c:pt>
                <c:pt idx="139">
                  <c:v>0</c:v>
                </c:pt>
                <c:pt idx="140">
                  <c:v>1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4">
                  <c:v>3</c:v>
                </c:pt>
                <c:pt idx="145">
                  <c:v>1</c:v>
                </c:pt>
                <c:pt idx="146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C$155:$C$322</c:f>
              <c:numCache>
                <c:formatCode>General</c:formatCode>
                <c:ptCount val="16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14A-45E8-87A1-7BD2345ADB4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70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D$155:$D$322</c:f>
              <c:numCache>
                <c:formatCode>General</c:formatCode>
                <c:ptCount val="168"/>
                <c:pt idx="119">
                  <c:v>7</c:v>
                </c:pt>
                <c:pt idx="120">
                  <c:v>7</c:v>
                </c:pt>
                <c:pt idx="121">
                  <c:v>6</c:v>
                </c:pt>
                <c:pt idx="122">
                  <c:v>6</c:v>
                </c:pt>
                <c:pt idx="123">
                  <c:v>5</c:v>
                </c:pt>
                <c:pt idx="124">
                  <c:v>5</c:v>
                </c:pt>
                <c:pt idx="125">
                  <c:v>5</c:v>
                </c:pt>
                <c:pt idx="126">
                  <c:v>5</c:v>
                </c:pt>
                <c:pt idx="127">
                  <c:v>4</c:v>
                </c:pt>
                <c:pt idx="128">
                  <c:v>4</c:v>
                </c:pt>
                <c:pt idx="129">
                  <c:v>4</c:v>
                </c:pt>
                <c:pt idx="130">
                  <c:v>4</c:v>
                </c:pt>
                <c:pt idx="131">
                  <c:v>4</c:v>
                </c:pt>
                <c:pt idx="132">
                  <c:v>3</c:v>
                </c:pt>
                <c:pt idx="133">
                  <c:v>3</c:v>
                </c:pt>
                <c:pt idx="134">
                  <c:v>3</c:v>
                </c:pt>
                <c:pt idx="135">
                  <c:v>3</c:v>
                </c:pt>
                <c:pt idx="136">
                  <c:v>3</c:v>
                </c:pt>
                <c:pt idx="137">
                  <c:v>3</c:v>
                </c:pt>
                <c:pt idx="138">
                  <c:v>2</c:v>
                </c:pt>
                <c:pt idx="139">
                  <c:v>2</c:v>
                </c:pt>
                <c:pt idx="140">
                  <c:v>2</c:v>
                </c:pt>
                <c:pt idx="141">
                  <c:v>2</c:v>
                </c:pt>
                <c:pt idx="142">
                  <c:v>2</c:v>
                </c:pt>
                <c:pt idx="143">
                  <c:v>2</c:v>
                </c:pt>
                <c:pt idx="144">
                  <c:v>2</c:v>
                </c:pt>
                <c:pt idx="145">
                  <c:v>2</c:v>
                </c:pt>
                <c:pt idx="146">
                  <c:v>2</c:v>
                </c:pt>
                <c:pt idx="147">
                  <c:v>2</c:v>
                </c:pt>
                <c:pt idx="148">
                  <c:v>2</c:v>
                </c:pt>
                <c:pt idx="149">
                  <c:v>2</c:v>
                </c:pt>
                <c:pt idx="150">
                  <c:v>1</c:v>
                </c:pt>
                <c:pt idx="151">
                  <c:v>1</c:v>
                </c:pt>
                <c:pt idx="152">
                  <c:v>1</c:v>
                </c:pt>
                <c:pt idx="153">
                  <c:v>1</c:v>
                </c:pt>
                <c:pt idx="154">
                  <c:v>1</c:v>
                </c:pt>
                <c:pt idx="155">
                  <c:v>1</c:v>
                </c:pt>
                <c:pt idx="156">
                  <c:v>1</c:v>
                </c:pt>
                <c:pt idx="157">
                  <c:v>1</c:v>
                </c:pt>
                <c:pt idx="158">
                  <c:v>1</c:v>
                </c:pt>
                <c:pt idx="159">
                  <c:v>1</c:v>
                </c:pt>
                <c:pt idx="160">
                  <c:v>1</c:v>
                </c:pt>
                <c:pt idx="161">
                  <c:v>1</c:v>
                </c:pt>
                <c:pt idx="162">
                  <c:v>1</c:v>
                </c:pt>
                <c:pt idx="163">
                  <c:v>1</c:v>
                </c:pt>
                <c:pt idx="164">
                  <c:v>1</c:v>
                </c:pt>
                <c:pt idx="165">
                  <c:v>1</c:v>
                </c:pt>
                <c:pt idx="166">
                  <c:v>1</c:v>
                </c:pt>
                <c:pt idx="167">
                  <c:v>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14A-45E8-87A1-7BD2345ADB46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0,90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F$155:$F$322</c:f>
              <c:numCache>
                <c:formatCode>General</c:formatCode>
                <c:ptCount val="168"/>
                <c:pt idx="119">
                  <c:v>7</c:v>
                </c:pt>
                <c:pt idx="120">
                  <c:v>7</c:v>
                </c:pt>
                <c:pt idx="121">
                  <c:v>7</c:v>
                </c:pt>
                <c:pt idx="122">
                  <c:v>7</c:v>
                </c:pt>
                <c:pt idx="123">
                  <c:v>7</c:v>
                </c:pt>
                <c:pt idx="124">
                  <c:v>7</c:v>
                </c:pt>
                <c:pt idx="125">
                  <c:v>7</c:v>
                </c:pt>
                <c:pt idx="126">
                  <c:v>7</c:v>
                </c:pt>
                <c:pt idx="127">
                  <c:v>7</c:v>
                </c:pt>
                <c:pt idx="128">
                  <c:v>6</c:v>
                </c:pt>
                <c:pt idx="129">
                  <c:v>6</c:v>
                </c:pt>
                <c:pt idx="130">
                  <c:v>6</c:v>
                </c:pt>
                <c:pt idx="131">
                  <c:v>6</c:v>
                </c:pt>
                <c:pt idx="132">
                  <c:v>6</c:v>
                </c:pt>
                <c:pt idx="133">
                  <c:v>6</c:v>
                </c:pt>
                <c:pt idx="134">
                  <c:v>6</c:v>
                </c:pt>
                <c:pt idx="135">
                  <c:v>6</c:v>
                </c:pt>
                <c:pt idx="136">
                  <c:v>6</c:v>
                </c:pt>
                <c:pt idx="137">
                  <c:v>6</c:v>
                </c:pt>
                <c:pt idx="138">
                  <c:v>6</c:v>
                </c:pt>
                <c:pt idx="139">
                  <c:v>5</c:v>
                </c:pt>
                <c:pt idx="140">
                  <c:v>5</c:v>
                </c:pt>
                <c:pt idx="141">
                  <c:v>5</c:v>
                </c:pt>
                <c:pt idx="142">
                  <c:v>5</c:v>
                </c:pt>
                <c:pt idx="143">
                  <c:v>5</c:v>
                </c:pt>
                <c:pt idx="144">
                  <c:v>5</c:v>
                </c:pt>
                <c:pt idx="145">
                  <c:v>5</c:v>
                </c:pt>
                <c:pt idx="146">
                  <c:v>5</c:v>
                </c:pt>
                <c:pt idx="147">
                  <c:v>5</c:v>
                </c:pt>
                <c:pt idx="148">
                  <c:v>5</c:v>
                </c:pt>
                <c:pt idx="149">
                  <c:v>5</c:v>
                </c:pt>
                <c:pt idx="150">
                  <c:v>5</c:v>
                </c:pt>
                <c:pt idx="151">
                  <c:v>5</c:v>
                </c:pt>
                <c:pt idx="152">
                  <c:v>5</c:v>
                </c:pt>
                <c:pt idx="153">
                  <c:v>5</c:v>
                </c:pt>
                <c:pt idx="154">
                  <c:v>5</c:v>
                </c:pt>
                <c:pt idx="155">
                  <c:v>5</c:v>
                </c:pt>
                <c:pt idx="156">
                  <c:v>4</c:v>
                </c:pt>
                <c:pt idx="157">
                  <c:v>4</c:v>
                </c:pt>
                <c:pt idx="158">
                  <c:v>4</c:v>
                </c:pt>
                <c:pt idx="159">
                  <c:v>4</c:v>
                </c:pt>
                <c:pt idx="160">
                  <c:v>4</c:v>
                </c:pt>
                <c:pt idx="161">
                  <c:v>4</c:v>
                </c:pt>
                <c:pt idx="162">
                  <c:v>4</c:v>
                </c:pt>
                <c:pt idx="163">
                  <c:v>4</c:v>
                </c:pt>
                <c:pt idx="164">
                  <c:v>4</c:v>
                </c:pt>
                <c:pt idx="165">
                  <c:v>4</c:v>
                </c:pt>
                <c:pt idx="166">
                  <c:v>4</c:v>
                </c:pt>
                <c:pt idx="167">
                  <c:v>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14A-45E8-87A1-7BD2345ADB46}"/>
            </c:ext>
          </c:extLst>
        </c:ser>
        <c:ser>
          <c:idx val="5"/>
          <c:order val="4"/>
          <c:tx>
            <c:strRef>
              <c:f>Sheet1!$G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G$155:$G$322</c:f>
              <c:numCache>
                <c:formatCode>General</c:formatCode>
                <c:ptCount val="168"/>
                <c:pt idx="119">
                  <c:v>7</c:v>
                </c:pt>
                <c:pt idx="120">
                  <c:v>8</c:v>
                </c:pt>
                <c:pt idx="121">
                  <c:v>8</c:v>
                </c:pt>
                <c:pt idx="122">
                  <c:v>8</c:v>
                </c:pt>
                <c:pt idx="123">
                  <c:v>8</c:v>
                </c:pt>
                <c:pt idx="124">
                  <c:v>8</c:v>
                </c:pt>
                <c:pt idx="125">
                  <c:v>8</c:v>
                </c:pt>
                <c:pt idx="126">
                  <c:v>9</c:v>
                </c:pt>
                <c:pt idx="127">
                  <c:v>9</c:v>
                </c:pt>
                <c:pt idx="128">
                  <c:v>9</c:v>
                </c:pt>
                <c:pt idx="129">
                  <c:v>9</c:v>
                </c:pt>
                <c:pt idx="130">
                  <c:v>9</c:v>
                </c:pt>
                <c:pt idx="131">
                  <c:v>10</c:v>
                </c:pt>
                <c:pt idx="132">
                  <c:v>10</c:v>
                </c:pt>
                <c:pt idx="133">
                  <c:v>10</c:v>
                </c:pt>
                <c:pt idx="134">
                  <c:v>10</c:v>
                </c:pt>
                <c:pt idx="135">
                  <c:v>10</c:v>
                </c:pt>
                <c:pt idx="136">
                  <c:v>11</c:v>
                </c:pt>
                <c:pt idx="137">
                  <c:v>11</c:v>
                </c:pt>
                <c:pt idx="138">
                  <c:v>11</c:v>
                </c:pt>
                <c:pt idx="139">
                  <c:v>11</c:v>
                </c:pt>
                <c:pt idx="140">
                  <c:v>12</c:v>
                </c:pt>
                <c:pt idx="141">
                  <c:v>12</c:v>
                </c:pt>
                <c:pt idx="142">
                  <c:v>12</c:v>
                </c:pt>
                <c:pt idx="143">
                  <c:v>12</c:v>
                </c:pt>
                <c:pt idx="144">
                  <c:v>13</c:v>
                </c:pt>
                <c:pt idx="145">
                  <c:v>13</c:v>
                </c:pt>
                <c:pt idx="146">
                  <c:v>13</c:v>
                </c:pt>
                <c:pt idx="147">
                  <c:v>13</c:v>
                </c:pt>
                <c:pt idx="148">
                  <c:v>14</c:v>
                </c:pt>
                <c:pt idx="149">
                  <c:v>14</c:v>
                </c:pt>
                <c:pt idx="150">
                  <c:v>14</c:v>
                </c:pt>
                <c:pt idx="151">
                  <c:v>14</c:v>
                </c:pt>
                <c:pt idx="152">
                  <c:v>15</c:v>
                </c:pt>
                <c:pt idx="153">
                  <c:v>15</c:v>
                </c:pt>
                <c:pt idx="154">
                  <c:v>15</c:v>
                </c:pt>
                <c:pt idx="155">
                  <c:v>16</c:v>
                </c:pt>
                <c:pt idx="156">
                  <c:v>16</c:v>
                </c:pt>
                <c:pt idx="157">
                  <c:v>16</c:v>
                </c:pt>
                <c:pt idx="158">
                  <c:v>17</c:v>
                </c:pt>
                <c:pt idx="159">
                  <c:v>17</c:v>
                </c:pt>
                <c:pt idx="160">
                  <c:v>17</c:v>
                </c:pt>
                <c:pt idx="161">
                  <c:v>18</c:v>
                </c:pt>
                <c:pt idx="162">
                  <c:v>18</c:v>
                </c:pt>
                <c:pt idx="163">
                  <c:v>18</c:v>
                </c:pt>
                <c:pt idx="164">
                  <c:v>19</c:v>
                </c:pt>
                <c:pt idx="165">
                  <c:v>19</c:v>
                </c:pt>
                <c:pt idx="166">
                  <c:v>19</c:v>
                </c:pt>
                <c:pt idx="167">
                  <c:v>2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31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6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1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5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H$2:$H$169</c:f>
              <c:numCache>
                <c:formatCode>0</c:formatCode>
                <c:ptCount val="168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  <c:pt idx="126">
                  <c:v>100</c:v>
                </c:pt>
                <c:pt idx="127">
                  <c:v>100</c:v>
                </c:pt>
                <c:pt idx="128">
                  <c:v>100</c:v>
                </c:pt>
                <c:pt idx="129">
                  <c:v>100</c:v>
                </c:pt>
                <c:pt idx="130">
                  <c:v>100</c:v>
                </c:pt>
                <c:pt idx="131">
                  <c:v>100</c:v>
                </c:pt>
                <c:pt idx="132">
                  <c:v>100</c:v>
                </c:pt>
                <c:pt idx="133">
                  <c:v>100</c:v>
                </c:pt>
                <c:pt idx="134">
                  <c:v>100</c:v>
                </c:pt>
                <c:pt idx="135">
                  <c:v>100</c:v>
                </c:pt>
                <c:pt idx="136">
                  <c:v>100</c:v>
                </c:pt>
                <c:pt idx="137">
                  <c:v>100</c:v>
                </c:pt>
                <c:pt idx="138">
                  <c:v>100</c:v>
                </c:pt>
                <c:pt idx="139">
                  <c:v>100</c:v>
                </c:pt>
                <c:pt idx="140">
                  <c:v>100</c:v>
                </c:pt>
                <c:pt idx="141">
                  <c:v>100</c:v>
                </c:pt>
                <c:pt idx="142">
                  <c:v>100</c:v>
                </c:pt>
                <c:pt idx="143">
                  <c:v>100</c:v>
                </c:pt>
                <c:pt idx="144">
                  <c:v>100</c:v>
                </c:pt>
                <c:pt idx="145">
                  <c:v>100</c:v>
                </c:pt>
                <c:pt idx="146">
                  <c:v>100</c:v>
                </c:pt>
                <c:pt idx="147">
                  <c:v>100</c:v>
                </c:pt>
                <c:pt idx="148">
                  <c:v>100</c:v>
                </c:pt>
                <c:pt idx="149">
                  <c:v>100</c:v>
                </c:pt>
                <c:pt idx="150">
                  <c:v>100</c:v>
                </c:pt>
                <c:pt idx="151">
                  <c:v>100</c:v>
                </c:pt>
                <c:pt idx="152">
                  <c:v>100</c:v>
                </c:pt>
                <c:pt idx="153">
                  <c:v>100</c:v>
                </c:pt>
                <c:pt idx="154">
                  <c:v>100</c:v>
                </c:pt>
                <c:pt idx="155">
                  <c:v>100</c:v>
                </c:pt>
                <c:pt idx="156">
                  <c:v>100</c:v>
                </c:pt>
                <c:pt idx="157">
                  <c:v>100</c:v>
                </c:pt>
                <c:pt idx="158">
                  <c:v>100</c:v>
                </c:pt>
                <c:pt idx="159">
                  <c:v>100</c:v>
                </c:pt>
                <c:pt idx="160">
                  <c:v>100</c:v>
                </c:pt>
                <c:pt idx="161">
                  <c:v>100</c:v>
                </c:pt>
                <c:pt idx="162">
                  <c:v>100</c:v>
                </c:pt>
                <c:pt idx="163">
                  <c:v>100</c:v>
                </c:pt>
                <c:pt idx="164">
                  <c:v>100</c:v>
                </c:pt>
                <c:pt idx="165">
                  <c:v>100</c:v>
                </c:pt>
                <c:pt idx="166">
                  <c:v>100</c:v>
                </c:pt>
                <c:pt idx="167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EF5-483F-B422-4E0629062509}"/>
            </c:ext>
          </c:extLst>
        </c:ser>
        <c:ser>
          <c:idx val="7"/>
          <c:order val="6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rgbClr val="C2FFDF"/>
            </a:solidFill>
            <a:ln>
              <a:noFill/>
            </a:ln>
            <a:effectLst/>
          </c:spP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I$2:$I$169</c:f>
              <c:numCache>
                <c:formatCode>0</c:formatCode>
                <c:ptCount val="168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  <c:pt idx="79">
                  <c:v>50</c:v>
                </c:pt>
                <c:pt idx="80">
                  <c:v>50</c:v>
                </c:pt>
                <c:pt idx="81">
                  <c:v>50</c:v>
                </c:pt>
                <c:pt idx="82">
                  <c:v>50</c:v>
                </c:pt>
                <c:pt idx="83">
                  <c:v>50</c:v>
                </c:pt>
                <c:pt idx="84">
                  <c:v>50</c:v>
                </c:pt>
                <c:pt idx="85">
                  <c:v>50</c:v>
                </c:pt>
                <c:pt idx="86">
                  <c:v>50</c:v>
                </c:pt>
                <c:pt idx="87">
                  <c:v>50</c:v>
                </c:pt>
                <c:pt idx="88">
                  <c:v>50</c:v>
                </c:pt>
                <c:pt idx="89">
                  <c:v>50</c:v>
                </c:pt>
                <c:pt idx="90">
                  <c:v>50</c:v>
                </c:pt>
                <c:pt idx="91">
                  <c:v>50</c:v>
                </c:pt>
                <c:pt idx="92">
                  <c:v>50</c:v>
                </c:pt>
                <c:pt idx="93">
                  <c:v>50</c:v>
                </c:pt>
                <c:pt idx="94">
                  <c:v>50</c:v>
                </c:pt>
                <c:pt idx="95">
                  <c:v>50</c:v>
                </c:pt>
                <c:pt idx="96">
                  <c:v>50</c:v>
                </c:pt>
                <c:pt idx="97">
                  <c:v>50</c:v>
                </c:pt>
                <c:pt idx="98">
                  <c:v>50</c:v>
                </c:pt>
                <c:pt idx="99">
                  <c:v>50</c:v>
                </c:pt>
                <c:pt idx="100">
                  <c:v>50</c:v>
                </c:pt>
                <c:pt idx="101">
                  <c:v>50</c:v>
                </c:pt>
                <c:pt idx="102">
                  <c:v>50</c:v>
                </c:pt>
                <c:pt idx="103">
                  <c:v>50</c:v>
                </c:pt>
                <c:pt idx="104">
                  <c:v>50</c:v>
                </c:pt>
                <c:pt idx="105">
                  <c:v>50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  <c:pt idx="110">
                  <c:v>50</c:v>
                </c:pt>
                <c:pt idx="111">
                  <c:v>50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0</c:v>
                </c:pt>
                <c:pt idx="122">
                  <c:v>50</c:v>
                </c:pt>
                <c:pt idx="123">
                  <c:v>50</c:v>
                </c:pt>
                <c:pt idx="124">
                  <c:v>50</c:v>
                </c:pt>
                <c:pt idx="125">
                  <c:v>50</c:v>
                </c:pt>
                <c:pt idx="126">
                  <c:v>50</c:v>
                </c:pt>
                <c:pt idx="127">
                  <c:v>50</c:v>
                </c:pt>
                <c:pt idx="128">
                  <c:v>50</c:v>
                </c:pt>
                <c:pt idx="129">
                  <c:v>50</c:v>
                </c:pt>
                <c:pt idx="130">
                  <c:v>50</c:v>
                </c:pt>
                <c:pt idx="131">
                  <c:v>50</c:v>
                </c:pt>
                <c:pt idx="132">
                  <c:v>50</c:v>
                </c:pt>
                <c:pt idx="133">
                  <c:v>50</c:v>
                </c:pt>
                <c:pt idx="134">
                  <c:v>50</c:v>
                </c:pt>
                <c:pt idx="135">
                  <c:v>50</c:v>
                </c:pt>
                <c:pt idx="136">
                  <c:v>50</c:v>
                </c:pt>
                <c:pt idx="137">
                  <c:v>50</c:v>
                </c:pt>
                <c:pt idx="138">
                  <c:v>50</c:v>
                </c:pt>
                <c:pt idx="139">
                  <c:v>50</c:v>
                </c:pt>
                <c:pt idx="140">
                  <c:v>50</c:v>
                </c:pt>
                <c:pt idx="141">
                  <c:v>50</c:v>
                </c:pt>
                <c:pt idx="142">
                  <c:v>50</c:v>
                </c:pt>
                <c:pt idx="143">
                  <c:v>50</c:v>
                </c:pt>
                <c:pt idx="144">
                  <c:v>50</c:v>
                </c:pt>
                <c:pt idx="145">
                  <c:v>50</c:v>
                </c:pt>
                <c:pt idx="146">
                  <c:v>50</c:v>
                </c:pt>
                <c:pt idx="147">
                  <c:v>50</c:v>
                </c:pt>
                <c:pt idx="148">
                  <c:v>50</c:v>
                </c:pt>
                <c:pt idx="149">
                  <c:v>50</c:v>
                </c:pt>
                <c:pt idx="150">
                  <c:v>50</c:v>
                </c:pt>
                <c:pt idx="151">
                  <c:v>50</c:v>
                </c:pt>
                <c:pt idx="152">
                  <c:v>50</c:v>
                </c:pt>
                <c:pt idx="153">
                  <c:v>50</c:v>
                </c:pt>
                <c:pt idx="154">
                  <c:v>50</c:v>
                </c:pt>
                <c:pt idx="155">
                  <c:v>50</c:v>
                </c:pt>
                <c:pt idx="156">
                  <c:v>50</c:v>
                </c:pt>
                <c:pt idx="157">
                  <c:v>50</c:v>
                </c:pt>
                <c:pt idx="158">
                  <c:v>50</c:v>
                </c:pt>
                <c:pt idx="159">
                  <c:v>50</c:v>
                </c:pt>
                <c:pt idx="160">
                  <c:v>50</c:v>
                </c:pt>
                <c:pt idx="161">
                  <c:v>50</c:v>
                </c:pt>
                <c:pt idx="162">
                  <c:v>50</c:v>
                </c:pt>
                <c:pt idx="163">
                  <c:v>50</c:v>
                </c:pt>
                <c:pt idx="164">
                  <c:v>50</c:v>
                </c:pt>
                <c:pt idx="165">
                  <c:v>50</c:v>
                </c:pt>
                <c:pt idx="166">
                  <c:v>50</c:v>
                </c:pt>
                <c:pt idx="167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EF5-483F-B422-4E06290625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B$2:$B$169</c:f>
              <c:numCache>
                <c:formatCode>0</c:formatCode>
                <c:ptCount val="168"/>
                <c:pt idx="0">
                  <c:v>952.24608435320795</c:v>
                </c:pt>
                <c:pt idx="1">
                  <c:v>938.81115389712841</c:v>
                </c:pt>
                <c:pt idx="2">
                  <c:v>1023.2333520333041</c:v>
                </c:pt>
                <c:pt idx="3">
                  <c:v>1007.8013373202398</c:v>
                </c:pt>
                <c:pt idx="4">
                  <c:v>1011.9770589484807</c:v>
                </c:pt>
                <c:pt idx="5">
                  <c:v>1001.2654252064713</c:v>
                </c:pt>
                <c:pt idx="6">
                  <c:v>996.00038489260214</c:v>
                </c:pt>
                <c:pt idx="7">
                  <c:v>1031.4032421755146</c:v>
                </c:pt>
                <c:pt idx="8">
                  <c:v>1052.4634034309906</c:v>
                </c:pt>
                <c:pt idx="9">
                  <c:v>1007.6197842059685</c:v>
                </c:pt>
                <c:pt idx="10">
                  <c:v>1017.0605461480783</c:v>
                </c:pt>
                <c:pt idx="11">
                  <c:v>992.55087572144657</c:v>
                </c:pt>
                <c:pt idx="12">
                  <c:v>1016.1527805767217</c:v>
                </c:pt>
                <c:pt idx="13">
                  <c:v>997.997469149587</c:v>
                </c:pt>
                <c:pt idx="14">
                  <c:v>1025.7750956331029</c:v>
                </c:pt>
                <c:pt idx="15">
                  <c:v>1022.8702458047615</c:v>
                </c:pt>
                <c:pt idx="16">
                  <c:v>975.66643609421146</c:v>
                </c:pt>
                <c:pt idx="17">
                  <c:v>1010.3430809200386</c:v>
                </c:pt>
                <c:pt idx="18">
                  <c:v>1043.5673008316946</c:v>
                </c:pt>
                <c:pt idx="19">
                  <c:v>1045.0197257458656</c:v>
                </c:pt>
                <c:pt idx="20">
                  <c:v>1050.4663191740058</c:v>
                </c:pt>
                <c:pt idx="21">
                  <c:v>1082.7827735143053</c:v>
                </c:pt>
                <c:pt idx="22">
                  <c:v>1072.9789053436527</c:v>
                </c:pt>
                <c:pt idx="23">
                  <c:v>1142.513748109578</c:v>
                </c:pt>
                <c:pt idx="24">
                  <c:v>1080.0594768002352</c:v>
                </c:pt>
                <c:pt idx="25">
                  <c:v>1107.4739970552084</c:v>
                </c:pt>
                <c:pt idx="26">
                  <c:v>1072.2526928865675</c:v>
                </c:pt>
                <c:pt idx="27">
                  <c:v>1110.1972937692785</c:v>
                </c:pt>
                <c:pt idx="28">
                  <c:v>1059.1808686590305</c:v>
                </c:pt>
                <c:pt idx="29">
                  <c:v>1063.5381434015428</c:v>
                </c:pt>
                <c:pt idx="30">
                  <c:v>1006.1673592917975</c:v>
                </c:pt>
                <c:pt idx="31">
                  <c:v>1002.173190777828</c:v>
                </c:pt>
                <c:pt idx="32">
                  <c:v>956.60335909572029</c:v>
                </c:pt>
                <c:pt idx="33">
                  <c:v>974.21401118004076</c:v>
                </c:pt>
                <c:pt idx="34">
                  <c:v>925.55777655532017</c:v>
                </c:pt>
                <c:pt idx="35">
                  <c:v>880.16949798748385</c:v>
                </c:pt>
                <c:pt idx="36">
                  <c:v>829.87928533432091</c:v>
                </c:pt>
                <c:pt idx="37">
                  <c:v>800.46768082236292</c:v>
                </c:pt>
                <c:pt idx="38">
                  <c:v>749.45125571211486</c:v>
                </c:pt>
                <c:pt idx="39">
                  <c:v>753.08231799754185</c:v>
                </c:pt>
                <c:pt idx="40">
                  <c:v>695.89308700206789</c:v>
                </c:pt>
                <c:pt idx="41">
                  <c:v>665.75527003302454</c:v>
                </c:pt>
                <c:pt idx="42">
                  <c:v>669.38633231845142</c:v>
                </c:pt>
                <c:pt idx="43">
                  <c:v>636.88832486388048</c:v>
                </c:pt>
                <c:pt idx="44">
                  <c:v>594.22334301011426</c:v>
                </c:pt>
                <c:pt idx="45">
                  <c:v>568.26124766931196</c:v>
                </c:pt>
                <c:pt idx="46">
                  <c:v>488.92253673273382</c:v>
                </c:pt>
                <c:pt idx="47">
                  <c:v>480.02643413343793</c:v>
                </c:pt>
                <c:pt idx="48">
                  <c:v>466.95460990590101</c:v>
                </c:pt>
                <c:pt idx="49">
                  <c:v>427.012924766205</c:v>
                </c:pt>
                <c:pt idx="50">
                  <c:v>403.2294667966587</c:v>
                </c:pt>
                <c:pt idx="51">
                  <c:v>370.73145934208782</c:v>
                </c:pt>
                <c:pt idx="52">
                  <c:v>343.68004531565731</c:v>
                </c:pt>
                <c:pt idx="53">
                  <c:v>324.61696831716603</c:v>
                </c:pt>
                <c:pt idx="54">
                  <c:v>308.45874114701627</c:v>
                </c:pt>
                <c:pt idx="55">
                  <c:v>298.29176674782093</c:v>
                </c:pt>
                <c:pt idx="56">
                  <c:v>287.39857989154018</c:v>
                </c:pt>
                <c:pt idx="57">
                  <c:v>261.25493143646639</c:v>
                </c:pt>
                <c:pt idx="58">
                  <c:v>243.64427935214587</c:v>
                </c:pt>
                <c:pt idx="59">
                  <c:v>228.21226463908147</c:v>
                </c:pt>
                <c:pt idx="60">
                  <c:v>201.52395684119367</c:v>
                </c:pt>
                <c:pt idx="61">
                  <c:v>189.90455752782756</c:v>
                </c:pt>
                <c:pt idx="62">
                  <c:v>186.45504835667199</c:v>
                </c:pt>
                <c:pt idx="63">
                  <c:v>154.50170024491516</c:v>
                </c:pt>
                <c:pt idx="64">
                  <c:v>137.98036684622269</c:v>
                </c:pt>
                <c:pt idx="65">
                  <c:v>131.6260078467256</c:v>
                </c:pt>
                <c:pt idx="66">
                  <c:v>128.53960490411271</c:v>
                </c:pt>
                <c:pt idx="67">
                  <c:v>125.99786130431387</c:v>
                </c:pt>
                <c:pt idx="68">
                  <c:v>122.72990524742967</c:v>
                </c:pt>
                <c:pt idx="69">
                  <c:v>121.82213967607294</c:v>
                </c:pt>
                <c:pt idx="70">
                  <c:v>116.55709936220391</c:v>
                </c:pt>
                <c:pt idx="71">
                  <c:v>112.74448396250565</c:v>
                </c:pt>
                <c:pt idx="72">
                  <c:v>104.2114875917524</c:v>
                </c:pt>
                <c:pt idx="73">
                  <c:v>92.410535164114947</c:v>
                </c:pt>
                <c:pt idx="74">
                  <c:v>86.419282393160529</c:v>
                </c:pt>
                <c:pt idx="75">
                  <c:v>83.151326336276313</c:v>
                </c:pt>
                <c:pt idx="76">
                  <c:v>80.428029622206125</c:v>
                </c:pt>
                <c:pt idx="77">
                  <c:v>78.975604708035362</c:v>
                </c:pt>
                <c:pt idx="78">
                  <c:v>71.895033251452887</c:v>
                </c:pt>
                <c:pt idx="79">
                  <c:v>64.632908680599058</c:v>
                </c:pt>
                <c:pt idx="80">
                  <c:v>60.094080823815418</c:v>
                </c:pt>
                <c:pt idx="81">
                  <c:v>58.460102795373302</c:v>
                </c:pt>
                <c:pt idx="82">
                  <c:v>58.096996566830612</c:v>
                </c:pt>
                <c:pt idx="83">
                  <c:v>54.102828052861007</c:v>
                </c:pt>
                <c:pt idx="84">
                  <c:v>57.552337224016576</c:v>
                </c:pt>
                <c:pt idx="85">
                  <c:v>52.831956252961582</c:v>
                </c:pt>
                <c:pt idx="86">
                  <c:v>53.376615595775625</c:v>
                </c:pt>
                <c:pt idx="87">
                  <c:v>57.370784109745223</c:v>
                </c:pt>
                <c:pt idx="88">
                  <c:v>57.552337224016576</c:v>
                </c:pt>
                <c:pt idx="89">
                  <c:v>57.915443452559259</c:v>
                </c:pt>
                <c:pt idx="90">
                  <c:v>56.644571652659842</c:v>
                </c:pt>
                <c:pt idx="91">
                  <c:v>51.197978224519467</c:v>
                </c:pt>
                <c:pt idx="92">
                  <c:v>50.471765767434086</c:v>
                </c:pt>
                <c:pt idx="93">
                  <c:v>48.656234624720639</c:v>
                </c:pt>
                <c:pt idx="94">
                  <c:v>41.938769396680847</c:v>
                </c:pt>
                <c:pt idx="95">
                  <c:v>42.120322510952192</c:v>
                </c:pt>
                <c:pt idx="96">
                  <c:v>36.673729082811825</c:v>
                </c:pt>
                <c:pt idx="97">
                  <c:v>37.944600882711242</c:v>
                </c:pt>
                <c:pt idx="98">
                  <c:v>35.584410397183753</c:v>
                </c:pt>
                <c:pt idx="99">
                  <c:v>33.042666797384904</c:v>
                </c:pt>
                <c:pt idx="100">
                  <c:v>30.500923197586069</c:v>
                </c:pt>
                <c:pt idx="101">
                  <c:v>31.771794997485486</c:v>
                </c:pt>
                <c:pt idx="102">
                  <c:v>28.50383894060127</c:v>
                </c:pt>
                <c:pt idx="103">
                  <c:v>28.50383894060127</c:v>
                </c:pt>
                <c:pt idx="104">
                  <c:v>27.596073369244539</c:v>
                </c:pt>
                <c:pt idx="105">
                  <c:v>29.230051397686651</c:v>
                </c:pt>
                <c:pt idx="106">
                  <c:v>29.593157626229338</c:v>
                </c:pt>
                <c:pt idx="107">
                  <c:v>25.780542226531082</c:v>
                </c:pt>
                <c:pt idx="108">
                  <c:v>23.420351741003589</c:v>
                </c:pt>
                <c:pt idx="109">
                  <c:v>21.423267484018787</c:v>
                </c:pt>
                <c:pt idx="110">
                  <c:v>21.423267484018787</c:v>
                </c:pt>
                <c:pt idx="111">
                  <c:v>19.970842569848024</c:v>
                </c:pt>
                <c:pt idx="112">
                  <c:v>17.065992741506491</c:v>
                </c:pt>
                <c:pt idx="113">
                  <c:v>14.16114291316496</c:v>
                </c:pt>
                <c:pt idx="114">
                  <c:v>15.068908484521689</c:v>
                </c:pt>
                <c:pt idx="115">
                  <c:v>13.253377341808232</c:v>
                </c:pt>
                <c:pt idx="116">
                  <c:v>13.79803668462227</c:v>
                </c:pt>
                <c:pt idx="117">
                  <c:v>12.16405865618016</c:v>
                </c:pt>
                <c:pt idx="118">
                  <c:v>11.074739970552086</c:v>
                </c:pt>
                <c:pt idx="119">
                  <c:v>10.530080627738048</c:v>
                </c:pt>
                <c:pt idx="120">
                  <c:v>10.166974399195357</c:v>
                </c:pt>
                <c:pt idx="121">
                  <c:v>8.8961025992959382</c:v>
                </c:pt>
                <c:pt idx="122">
                  <c:v>8.5329963707532457</c:v>
                </c:pt>
                <c:pt idx="123">
                  <c:v>7.2621245708538265</c:v>
                </c:pt>
                <c:pt idx="124">
                  <c:v>7.4436776851251718</c:v>
                </c:pt>
                <c:pt idx="125">
                  <c:v>6.8990183423111349</c:v>
                </c:pt>
                <c:pt idx="126">
                  <c:v>6.1728058852257517</c:v>
                </c:pt>
                <c:pt idx="127">
                  <c:v>5.0834871995976787</c:v>
                </c:pt>
                <c:pt idx="128">
                  <c:v>4.5388278567836418</c:v>
                </c:pt>
                <c:pt idx="129">
                  <c:v>3.4495091711555674</c:v>
                </c:pt>
                <c:pt idx="130">
                  <c:v>2.7232967140701847</c:v>
                </c:pt>
                <c:pt idx="131">
                  <c:v>2.9048498283415305</c:v>
                </c:pt>
                <c:pt idx="132">
                  <c:v>2.9048498283415305</c:v>
                </c:pt>
                <c:pt idx="133">
                  <c:v>3.4495091711555674</c:v>
                </c:pt>
                <c:pt idx="134">
                  <c:v>3.4495091711555674</c:v>
                </c:pt>
                <c:pt idx="135">
                  <c:v>3.0864029426128758</c:v>
                </c:pt>
                <c:pt idx="136">
                  <c:v>3.2679560568842216</c:v>
                </c:pt>
                <c:pt idx="137">
                  <c:v>3.0864029426128758</c:v>
                </c:pt>
                <c:pt idx="138">
                  <c:v>2.7232967140701847</c:v>
                </c:pt>
                <c:pt idx="139">
                  <c:v>2.7232967140701847</c:v>
                </c:pt>
                <c:pt idx="140">
                  <c:v>1.9970842569848022</c:v>
                </c:pt>
                <c:pt idx="141">
                  <c:v>1.2708717998994197</c:v>
                </c:pt>
                <c:pt idx="142">
                  <c:v>1.0893186856280739</c:v>
                </c:pt>
                <c:pt idx="143">
                  <c:v>0.72621245708538262</c:v>
                </c:pt>
                <c:pt idx="144">
                  <c:v>0.90776557135672831</c:v>
                </c:pt>
                <c:pt idx="145">
                  <c:v>0.90776557135672831</c:v>
                </c:pt>
                <c:pt idx="146">
                  <c:v>1.45242491417076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C$2:$C$169</c:f>
              <c:numCache>
                <c:formatCode>General</c:formatCode>
                <c:ptCount val="16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14A-45E8-87A1-7BD2345ADB4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75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D$2:$D$169</c:f>
              <c:numCache>
                <c:formatCode>General</c:formatCode>
                <c:ptCount val="168"/>
                <c:pt idx="119">
                  <c:v>10.711633742009393</c:v>
                </c:pt>
                <c:pt idx="120">
                  <c:v>10.166974399195357</c:v>
                </c:pt>
                <c:pt idx="121">
                  <c:v>9.4407619421099742</c:v>
                </c:pt>
                <c:pt idx="122">
                  <c:v>8.8961025992959382</c:v>
                </c:pt>
                <c:pt idx="123">
                  <c:v>8.3514432564819003</c:v>
                </c:pt>
                <c:pt idx="124">
                  <c:v>7.8067839136678634</c:v>
                </c:pt>
                <c:pt idx="125">
                  <c:v>7.4436776851251718</c:v>
                </c:pt>
                <c:pt idx="126">
                  <c:v>7.0805714565824802</c:v>
                </c:pt>
                <c:pt idx="127">
                  <c:v>6.5359121137684433</c:v>
                </c:pt>
                <c:pt idx="128">
                  <c:v>6.1728058852257517</c:v>
                </c:pt>
                <c:pt idx="129">
                  <c:v>5.809699656683061</c:v>
                </c:pt>
                <c:pt idx="130">
                  <c:v>5.6281465424117156</c:v>
                </c:pt>
                <c:pt idx="131">
                  <c:v>5.4465934281403694</c:v>
                </c:pt>
                <c:pt idx="132">
                  <c:v>5.0834871995976787</c:v>
                </c:pt>
                <c:pt idx="133">
                  <c:v>4.7203809710549871</c:v>
                </c:pt>
                <c:pt idx="134">
                  <c:v>4.5388278567836418</c:v>
                </c:pt>
                <c:pt idx="135">
                  <c:v>4.3572747425122955</c:v>
                </c:pt>
                <c:pt idx="136">
                  <c:v>4.1757216282409502</c:v>
                </c:pt>
                <c:pt idx="137">
                  <c:v>3.9941685139696044</c:v>
                </c:pt>
                <c:pt idx="138">
                  <c:v>3.6310622854269132</c:v>
                </c:pt>
                <c:pt idx="139">
                  <c:v>3.4495091711555674</c:v>
                </c:pt>
                <c:pt idx="140">
                  <c:v>3.2679560568842216</c:v>
                </c:pt>
                <c:pt idx="141">
                  <c:v>3.0864029426128758</c:v>
                </c:pt>
                <c:pt idx="142">
                  <c:v>2.9048498283415305</c:v>
                </c:pt>
                <c:pt idx="143">
                  <c:v>2.7232967140701847</c:v>
                </c:pt>
                <c:pt idx="144">
                  <c:v>2.5417435997988393</c:v>
                </c:pt>
                <c:pt idx="145">
                  <c:v>2.5417435997988393</c:v>
                </c:pt>
                <c:pt idx="146">
                  <c:v>2.5417435997988393</c:v>
                </c:pt>
                <c:pt idx="147">
                  <c:v>2.5417435997988393</c:v>
                </c:pt>
                <c:pt idx="148">
                  <c:v>2.5417435997988393</c:v>
                </c:pt>
                <c:pt idx="149">
                  <c:v>2.5417435997988393</c:v>
                </c:pt>
                <c:pt idx="150">
                  <c:v>2.3601904855274936</c:v>
                </c:pt>
                <c:pt idx="151">
                  <c:v>2.1786373712561478</c:v>
                </c:pt>
                <c:pt idx="152">
                  <c:v>1.9970842569848022</c:v>
                </c:pt>
                <c:pt idx="153">
                  <c:v>1.8155311427134566</c:v>
                </c:pt>
                <c:pt idx="154">
                  <c:v>1.6339780284421108</c:v>
                </c:pt>
                <c:pt idx="155">
                  <c:v>1.4524249141707652</c:v>
                </c:pt>
                <c:pt idx="156">
                  <c:v>1.2708717998994197</c:v>
                </c:pt>
                <c:pt idx="157">
                  <c:v>1.2708717998994197</c:v>
                </c:pt>
                <c:pt idx="158">
                  <c:v>1.2708717998994197</c:v>
                </c:pt>
                <c:pt idx="159">
                  <c:v>1.2708717998994197</c:v>
                </c:pt>
                <c:pt idx="160">
                  <c:v>1.2708717998994197</c:v>
                </c:pt>
                <c:pt idx="161">
                  <c:v>1.2708717998994197</c:v>
                </c:pt>
                <c:pt idx="162">
                  <c:v>1.2708717998994197</c:v>
                </c:pt>
                <c:pt idx="163">
                  <c:v>1.2708717998994197</c:v>
                </c:pt>
                <c:pt idx="164">
                  <c:v>1.2708717998994197</c:v>
                </c:pt>
                <c:pt idx="165">
                  <c:v>1.2708717998994197</c:v>
                </c:pt>
                <c:pt idx="166">
                  <c:v>1.2708717998994197</c:v>
                </c:pt>
                <c:pt idx="167">
                  <c:v>1.27087179989941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14A-45E8-87A1-7BD2345ADB46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0,95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F$2:$F$169</c:f>
              <c:numCache>
                <c:formatCode>General</c:formatCode>
                <c:ptCount val="168"/>
                <c:pt idx="119">
                  <c:v>10.711633742009393</c:v>
                </c:pt>
                <c:pt idx="120">
                  <c:v>10.166974399195357</c:v>
                </c:pt>
                <c:pt idx="121">
                  <c:v>9.6223150563813196</c:v>
                </c:pt>
                <c:pt idx="122">
                  <c:v>9.2592088278386289</c:v>
                </c:pt>
                <c:pt idx="123">
                  <c:v>9.0776557135672835</c:v>
                </c:pt>
                <c:pt idx="124">
                  <c:v>8.8961025992959382</c:v>
                </c:pt>
                <c:pt idx="125">
                  <c:v>8.8961025992959382</c:v>
                </c:pt>
                <c:pt idx="126">
                  <c:v>8.8961025992959382</c:v>
                </c:pt>
                <c:pt idx="127">
                  <c:v>8.8961025992959382</c:v>
                </c:pt>
                <c:pt idx="128">
                  <c:v>8.714549485024591</c:v>
                </c:pt>
                <c:pt idx="129">
                  <c:v>8.5329963707532457</c:v>
                </c:pt>
                <c:pt idx="130">
                  <c:v>8.3514432564819003</c:v>
                </c:pt>
                <c:pt idx="131">
                  <c:v>8.169890142210555</c:v>
                </c:pt>
                <c:pt idx="132">
                  <c:v>7.9883370279392087</c:v>
                </c:pt>
                <c:pt idx="133">
                  <c:v>7.8067839136678634</c:v>
                </c:pt>
                <c:pt idx="134">
                  <c:v>7.6252307993965172</c:v>
                </c:pt>
                <c:pt idx="135">
                  <c:v>7.6252307993965172</c:v>
                </c:pt>
                <c:pt idx="136">
                  <c:v>7.6252307993965172</c:v>
                </c:pt>
                <c:pt idx="137">
                  <c:v>7.6252307993965172</c:v>
                </c:pt>
                <c:pt idx="138">
                  <c:v>7.6252307993965172</c:v>
                </c:pt>
                <c:pt idx="139">
                  <c:v>7.4436776851251718</c:v>
                </c:pt>
                <c:pt idx="140">
                  <c:v>7.2621245708538265</c:v>
                </c:pt>
                <c:pt idx="141">
                  <c:v>7.0805714565824802</c:v>
                </c:pt>
                <c:pt idx="142">
                  <c:v>6.8990183423111349</c:v>
                </c:pt>
                <c:pt idx="143">
                  <c:v>6.7174652280397895</c:v>
                </c:pt>
                <c:pt idx="144">
                  <c:v>6.5359121137684433</c:v>
                </c:pt>
                <c:pt idx="145">
                  <c:v>6.3543589994970979</c:v>
                </c:pt>
                <c:pt idx="146">
                  <c:v>6.3543589994970979</c:v>
                </c:pt>
                <c:pt idx="147">
                  <c:v>6.3543589994970979</c:v>
                </c:pt>
                <c:pt idx="148">
                  <c:v>6.3543589994970979</c:v>
                </c:pt>
                <c:pt idx="149">
                  <c:v>6.3543589994970979</c:v>
                </c:pt>
                <c:pt idx="150">
                  <c:v>6.3543589994970979</c:v>
                </c:pt>
                <c:pt idx="151">
                  <c:v>6.3543589994970979</c:v>
                </c:pt>
                <c:pt idx="152">
                  <c:v>6.3543589994970979</c:v>
                </c:pt>
                <c:pt idx="153">
                  <c:v>6.3543589994970979</c:v>
                </c:pt>
                <c:pt idx="154">
                  <c:v>6.3543589994970979</c:v>
                </c:pt>
                <c:pt idx="155">
                  <c:v>6.3543589994970979</c:v>
                </c:pt>
                <c:pt idx="156">
                  <c:v>6.1728058852257517</c:v>
                </c:pt>
                <c:pt idx="157">
                  <c:v>5.9912527709544063</c:v>
                </c:pt>
                <c:pt idx="158">
                  <c:v>5.809699656683061</c:v>
                </c:pt>
                <c:pt idx="159">
                  <c:v>5.6281465424117156</c:v>
                </c:pt>
                <c:pt idx="160">
                  <c:v>5.4465934281403694</c:v>
                </c:pt>
                <c:pt idx="161">
                  <c:v>5.265040313869024</c:v>
                </c:pt>
                <c:pt idx="162">
                  <c:v>5.0834871995976787</c:v>
                </c:pt>
                <c:pt idx="163">
                  <c:v>5.0834871995976787</c:v>
                </c:pt>
                <c:pt idx="164">
                  <c:v>5.0834871995976787</c:v>
                </c:pt>
                <c:pt idx="165">
                  <c:v>5.0834871995976787</c:v>
                </c:pt>
                <c:pt idx="166">
                  <c:v>5.0834871995976787</c:v>
                </c:pt>
                <c:pt idx="167">
                  <c:v>5.083487199597678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14A-45E8-87A1-7BD2345ADB46}"/>
            </c:ext>
          </c:extLst>
        </c:ser>
        <c:ser>
          <c:idx val="5"/>
          <c:order val="4"/>
          <c:tx>
            <c:strRef>
              <c:f>Sheet1!$G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G$2:$G$169</c:f>
              <c:numCache>
                <c:formatCode>General</c:formatCode>
                <c:ptCount val="168"/>
                <c:pt idx="119">
                  <c:v>10.711633742009393</c:v>
                </c:pt>
                <c:pt idx="120">
                  <c:v>10.348527513466703</c:v>
                </c:pt>
                <c:pt idx="121">
                  <c:v>9.985421284924012</c:v>
                </c:pt>
                <c:pt idx="122">
                  <c:v>9.8038681706526649</c:v>
                </c:pt>
                <c:pt idx="123">
                  <c:v>9.8038681706526649</c:v>
                </c:pt>
                <c:pt idx="124">
                  <c:v>9.8038681706526649</c:v>
                </c:pt>
                <c:pt idx="125">
                  <c:v>9.985421284924012</c:v>
                </c:pt>
                <c:pt idx="126">
                  <c:v>10.348527513466703</c:v>
                </c:pt>
                <c:pt idx="127">
                  <c:v>10.530080627738048</c:v>
                </c:pt>
                <c:pt idx="128">
                  <c:v>10.711633742009393</c:v>
                </c:pt>
                <c:pt idx="129">
                  <c:v>10.893186856280739</c:v>
                </c:pt>
                <c:pt idx="130">
                  <c:v>11.074739970552086</c:v>
                </c:pt>
                <c:pt idx="131">
                  <c:v>11.437846199094777</c:v>
                </c:pt>
                <c:pt idx="132">
                  <c:v>11.800952427637467</c:v>
                </c:pt>
                <c:pt idx="133">
                  <c:v>11.982505541908813</c:v>
                </c:pt>
                <c:pt idx="134">
                  <c:v>12.16405865618016</c:v>
                </c:pt>
                <c:pt idx="135">
                  <c:v>12.345611770451503</c:v>
                </c:pt>
                <c:pt idx="136">
                  <c:v>12.708717998994196</c:v>
                </c:pt>
                <c:pt idx="137">
                  <c:v>13.071824227536887</c:v>
                </c:pt>
                <c:pt idx="138">
                  <c:v>13.253377341808232</c:v>
                </c:pt>
                <c:pt idx="139">
                  <c:v>13.434930456079579</c:v>
                </c:pt>
                <c:pt idx="140">
                  <c:v>13.79803668462227</c:v>
                </c:pt>
                <c:pt idx="141">
                  <c:v>14.16114291316496</c:v>
                </c:pt>
                <c:pt idx="142">
                  <c:v>14.524249141707653</c:v>
                </c:pt>
                <c:pt idx="143">
                  <c:v>14.705802255978998</c:v>
                </c:pt>
                <c:pt idx="144">
                  <c:v>15.068908484521689</c:v>
                </c:pt>
                <c:pt idx="145">
                  <c:v>15.43201471306438</c:v>
                </c:pt>
                <c:pt idx="146">
                  <c:v>15.795120941607072</c:v>
                </c:pt>
                <c:pt idx="147">
                  <c:v>15.976674055878417</c:v>
                </c:pt>
                <c:pt idx="148">
                  <c:v>16.33978028442111</c:v>
                </c:pt>
                <c:pt idx="149">
                  <c:v>16.702886512963801</c:v>
                </c:pt>
                <c:pt idx="150">
                  <c:v>17.065992741506491</c:v>
                </c:pt>
                <c:pt idx="151">
                  <c:v>17.247545855777837</c:v>
                </c:pt>
                <c:pt idx="152">
                  <c:v>17.610652084320527</c:v>
                </c:pt>
                <c:pt idx="153">
                  <c:v>17.973758312863222</c:v>
                </c:pt>
                <c:pt idx="154">
                  <c:v>18.336864541405912</c:v>
                </c:pt>
                <c:pt idx="155">
                  <c:v>18.6999707699486</c:v>
                </c:pt>
                <c:pt idx="156">
                  <c:v>19.063076998491294</c:v>
                </c:pt>
                <c:pt idx="157">
                  <c:v>19.426183227033984</c:v>
                </c:pt>
                <c:pt idx="158">
                  <c:v>19.970842569848024</c:v>
                </c:pt>
                <c:pt idx="159">
                  <c:v>20.333948798390715</c:v>
                </c:pt>
                <c:pt idx="160">
                  <c:v>20.697055026933405</c:v>
                </c:pt>
                <c:pt idx="161">
                  <c:v>21.241714369747442</c:v>
                </c:pt>
                <c:pt idx="162">
                  <c:v>21.604820598290132</c:v>
                </c:pt>
                <c:pt idx="163">
                  <c:v>21.967926826832823</c:v>
                </c:pt>
                <c:pt idx="164">
                  <c:v>22.512586169646863</c:v>
                </c:pt>
                <c:pt idx="165">
                  <c:v>22.875692398189553</c:v>
                </c:pt>
                <c:pt idx="166">
                  <c:v>23.238798626732244</c:v>
                </c:pt>
                <c:pt idx="167">
                  <c:v>23.783457969546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31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12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B$155:$B$322</c:f>
              <c:numCache>
                <c:formatCode>0</c:formatCode>
                <c:ptCount val="168"/>
                <c:pt idx="0">
                  <c:v>508</c:v>
                </c:pt>
                <c:pt idx="1">
                  <c:v>590</c:v>
                </c:pt>
                <c:pt idx="2">
                  <c:v>610</c:v>
                </c:pt>
                <c:pt idx="3">
                  <c:v>415</c:v>
                </c:pt>
                <c:pt idx="4">
                  <c:v>494</c:v>
                </c:pt>
                <c:pt idx="5">
                  <c:v>307</c:v>
                </c:pt>
                <c:pt idx="6">
                  <c:v>134</c:v>
                </c:pt>
                <c:pt idx="7">
                  <c:v>616</c:v>
                </c:pt>
                <c:pt idx="8">
                  <c:v>650</c:v>
                </c:pt>
                <c:pt idx="9">
                  <c:v>627</c:v>
                </c:pt>
                <c:pt idx="10">
                  <c:v>555</c:v>
                </c:pt>
                <c:pt idx="11">
                  <c:v>597</c:v>
                </c:pt>
                <c:pt idx="12">
                  <c:v>331</c:v>
                </c:pt>
                <c:pt idx="13">
                  <c:v>229</c:v>
                </c:pt>
                <c:pt idx="14">
                  <c:v>699</c:v>
                </c:pt>
                <c:pt idx="15">
                  <c:v>766</c:v>
                </c:pt>
                <c:pt idx="16">
                  <c:v>700</c:v>
                </c:pt>
                <c:pt idx="17">
                  <c:v>784</c:v>
                </c:pt>
                <c:pt idx="18">
                  <c:v>815</c:v>
                </c:pt>
                <c:pt idx="19">
                  <c:v>345</c:v>
                </c:pt>
                <c:pt idx="20">
                  <c:v>222</c:v>
                </c:pt>
                <c:pt idx="21">
                  <c:v>803</c:v>
                </c:pt>
                <c:pt idx="22">
                  <c:v>1054</c:v>
                </c:pt>
                <c:pt idx="23">
                  <c:v>1006</c:v>
                </c:pt>
                <c:pt idx="24">
                  <c:v>925</c:v>
                </c:pt>
                <c:pt idx="25">
                  <c:v>866</c:v>
                </c:pt>
                <c:pt idx="26">
                  <c:v>286</c:v>
                </c:pt>
                <c:pt idx="27">
                  <c:v>307</c:v>
                </c:pt>
                <c:pt idx="28">
                  <c:v>878</c:v>
                </c:pt>
                <c:pt idx="29">
                  <c:v>1056</c:v>
                </c:pt>
                <c:pt idx="30">
                  <c:v>1023</c:v>
                </c:pt>
                <c:pt idx="31">
                  <c:v>875</c:v>
                </c:pt>
                <c:pt idx="32">
                  <c:v>755</c:v>
                </c:pt>
                <c:pt idx="33">
                  <c:v>493</c:v>
                </c:pt>
                <c:pt idx="34">
                  <c:v>190</c:v>
                </c:pt>
                <c:pt idx="35">
                  <c:v>799</c:v>
                </c:pt>
                <c:pt idx="36">
                  <c:v>925</c:v>
                </c:pt>
                <c:pt idx="37">
                  <c:v>801</c:v>
                </c:pt>
                <c:pt idx="38">
                  <c:v>665</c:v>
                </c:pt>
                <c:pt idx="39">
                  <c:v>1145</c:v>
                </c:pt>
                <c:pt idx="40">
                  <c:v>302</c:v>
                </c:pt>
                <c:pt idx="41">
                  <c:v>184</c:v>
                </c:pt>
                <c:pt idx="42">
                  <c:v>779</c:v>
                </c:pt>
                <c:pt idx="43">
                  <c:v>825</c:v>
                </c:pt>
                <c:pt idx="44">
                  <c:v>704</c:v>
                </c:pt>
                <c:pt idx="45">
                  <c:v>574</c:v>
                </c:pt>
                <c:pt idx="46">
                  <c:v>601</c:v>
                </c:pt>
                <c:pt idx="47">
                  <c:v>237</c:v>
                </c:pt>
                <c:pt idx="48">
                  <c:v>145</c:v>
                </c:pt>
                <c:pt idx="49">
                  <c:v>541</c:v>
                </c:pt>
                <c:pt idx="50">
                  <c:v>712</c:v>
                </c:pt>
                <c:pt idx="51">
                  <c:v>472</c:v>
                </c:pt>
                <c:pt idx="52">
                  <c:v>505</c:v>
                </c:pt>
                <c:pt idx="53">
                  <c:v>442</c:v>
                </c:pt>
                <c:pt idx="54">
                  <c:v>134</c:v>
                </c:pt>
                <c:pt idx="55">
                  <c:v>57</c:v>
                </c:pt>
                <c:pt idx="56">
                  <c:v>414</c:v>
                </c:pt>
                <c:pt idx="57">
                  <c:v>539</c:v>
                </c:pt>
                <c:pt idx="58">
                  <c:v>417</c:v>
                </c:pt>
                <c:pt idx="59">
                  <c:v>435</c:v>
                </c:pt>
                <c:pt idx="60">
                  <c:v>223</c:v>
                </c:pt>
                <c:pt idx="61">
                  <c:v>137</c:v>
                </c:pt>
                <c:pt idx="62">
                  <c:v>77</c:v>
                </c:pt>
                <c:pt idx="63">
                  <c:v>89</c:v>
                </c:pt>
                <c:pt idx="64">
                  <c:v>427</c:v>
                </c:pt>
                <c:pt idx="65">
                  <c:v>451</c:v>
                </c:pt>
                <c:pt idx="66">
                  <c:v>265</c:v>
                </c:pt>
                <c:pt idx="67">
                  <c:v>323</c:v>
                </c:pt>
                <c:pt idx="68">
                  <c:v>74</c:v>
                </c:pt>
                <c:pt idx="69">
                  <c:v>38</c:v>
                </c:pt>
                <c:pt idx="70">
                  <c:v>218</c:v>
                </c:pt>
                <c:pt idx="71">
                  <c:v>359</c:v>
                </c:pt>
                <c:pt idx="72">
                  <c:v>178</c:v>
                </c:pt>
                <c:pt idx="73">
                  <c:v>168</c:v>
                </c:pt>
                <c:pt idx="74">
                  <c:v>170</c:v>
                </c:pt>
                <c:pt idx="75">
                  <c:v>76</c:v>
                </c:pt>
                <c:pt idx="76">
                  <c:v>36</c:v>
                </c:pt>
                <c:pt idx="77">
                  <c:v>195</c:v>
                </c:pt>
                <c:pt idx="78">
                  <c:v>180</c:v>
                </c:pt>
                <c:pt idx="79">
                  <c:v>172</c:v>
                </c:pt>
                <c:pt idx="80">
                  <c:v>97</c:v>
                </c:pt>
                <c:pt idx="81">
                  <c:v>135</c:v>
                </c:pt>
                <c:pt idx="82">
                  <c:v>31</c:v>
                </c:pt>
                <c:pt idx="83">
                  <c:v>27</c:v>
                </c:pt>
                <c:pt idx="84">
                  <c:v>150</c:v>
                </c:pt>
                <c:pt idx="85">
                  <c:v>121</c:v>
                </c:pt>
                <c:pt idx="86">
                  <c:v>80</c:v>
                </c:pt>
                <c:pt idx="87">
                  <c:v>88</c:v>
                </c:pt>
                <c:pt idx="88">
                  <c:v>79</c:v>
                </c:pt>
                <c:pt idx="89">
                  <c:v>19</c:v>
                </c:pt>
                <c:pt idx="90">
                  <c:v>17</c:v>
                </c:pt>
                <c:pt idx="91">
                  <c:v>138</c:v>
                </c:pt>
                <c:pt idx="92">
                  <c:v>67</c:v>
                </c:pt>
                <c:pt idx="93">
                  <c:v>91</c:v>
                </c:pt>
                <c:pt idx="94">
                  <c:v>49</c:v>
                </c:pt>
                <c:pt idx="95">
                  <c:v>52</c:v>
                </c:pt>
                <c:pt idx="96">
                  <c:v>19</c:v>
                </c:pt>
                <c:pt idx="97">
                  <c:v>17</c:v>
                </c:pt>
                <c:pt idx="98">
                  <c:v>64</c:v>
                </c:pt>
                <c:pt idx="99">
                  <c:v>72</c:v>
                </c:pt>
                <c:pt idx="100">
                  <c:v>50</c:v>
                </c:pt>
                <c:pt idx="101">
                  <c:v>45</c:v>
                </c:pt>
                <c:pt idx="102">
                  <c:v>43</c:v>
                </c:pt>
                <c:pt idx="103">
                  <c:v>0</c:v>
                </c:pt>
                <c:pt idx="104">
                  <c:v>11</c:v>
                </c:pt>
                <c:pt idx="105">
                  <c:v>44</c:v>
                </c:pt>
                <c:pt idx="106">
                  <c:v>56</c:v>
                </c:pt>
                <c:pt idx="107">
                  <c:v>22</c:v>
                </c:pt>
                <c:pt idx="108">
                  <c:v>18</c:v>
                </c:pt>
                <c:pt idx="109">
                  <c:v>25</c:v>
                </c:pt>
                <c:pt idx="110">
                  <c:v>3</c:v>
                </c:pt>
                <c:pt idx="111">
                  <c:v>2</c:v>
                </c:pt>
                <c:pt idx="112">
                  <c:v>23</c:v>
                </c:pt>
                <c:pt idx="113">
                  <c:v>27</c:v>
                </c:pt>
                <c:pt idx="114">
                  <c:v>10</c:v>
                </c:pt>
                <c:pt idx="115">
                  <c:v>11</c:v>
                </c:pt>
                <c:pt idx="116">
                  <c:v>9</c:v>
                </c:pt>
                <c:pt idx="117">
                  <c:v>6</c:v>
                </c:pt>
                <c:pt idx="118">
                  <c:v>4</c:v>
                </c:pt>
                <c:pt idx="119">
                  <c:v>29</c:v>
                </c:pt>
                <c:pt idx="120">
                  <c:v>11</c:v>
                </c:pt>
                <c:pt idx="121">
                  <c:v>14</c:v>
                </c:pt>
                <c:pt idx="122">
                  <c:v>15</c:v>
                </c:pt>
                <c:pt idx="123">
                  <c:v>17</c:v>
                </c:pt>
                <c:pt idx="124">
                  <c:v>1</c:v>
                </c:pt>
                <c:pt idx="125">
                  <c:v>3</c:v>
                </c:pt>
                <c:pt idx="126">
                  <c:v>12</c:v>
                </c:pt>
                <c:pt idx="127">
                  <c:v>16</c:v>
                </c:pt>
                <c:pt idx="128">
                  <c:v>7</c:v>
                </c:pt>
                <c:pt idx="129">
                  <c:v>0</c:v>
                </c:pt>
                <c:pt idx="130">
                  <c:v>3</c:v>
                </c:pt>
                <c:pt idx="131">
                  <c:v>3</c:v>
                </c:pt>
                <c:pt idx="132">
                  <c:v>0</c:v>
                </c:pt>
                <c:pt idx="133">
                  <c:v>7</c:v>
                </c:pt>
                <c:pt idx="134">
                  <c:v>6</c:v>
                </c:pt>
                <c:pt idx="135">
                  <c:v>3</c:v>
                </c:pt>
                <c:pt idx="136">
                  <c:v>2</c:v>
                </c:pt>
                <c:pt idx="137">
                  <c:v>5</c:v>
                </c:pt>
                <c:pt idx="138">
                  <c:v>1</c:v>
                </c:pt>
                <c:pt idx="139">
                  <c:v>2</c:v>
                </c:pt>
                <c:pt idx="140">
                  <c:v>8</c:v>
                </c:pt>
                <c:pt idx="141">
                  <c:v>1</c:v>
                </c:pt>
                <c:pt idx="142">
                  <c:v>12</c:v>
                </c:pt>
                <c:pt idx="143">
                  <c:v>3</c:v>
                </c:pt>
                <c:pt idx="144">
                  <c:v>5</c:v>
                </c:pt>
                <c:pt idx="145">
                  <c:v>2</c:v>
                </c:pt>
                <c:pt idx="146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C$155:$C$322</c:f>
              <c:numCache>
                <c:formatCode>General</c:formatCode>
                <c:ptCount val="16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14A-45E8-87A1-7BD2345ADB4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70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D$155:$D$322</c:f>
              <c:numCache>
                <c:formatCode>General</c:formatCode>
                <c:ptCount val="168"/>
                <c:pt idx="119">
                  <c:v>18</c:v>
                </c:pt>
                <c:pt idx="120">
                  <c:v>17</c:v>
                </c:pt>
                <c:pt idx="121">
                  <c:v>16</c:v>
                </c:pt>
                <c:pt idx="122">
                  <c:v>15</c:v>
                </c:pt>
                <c:pt idx="123">
                  <c:v>14</c:v>
                </c:pt>
                <c:pt idx="124">
                  <c:v>14</c:v>
                </c:pt>
                <c:pt idx="125">
                  <c:v>13</c:v>
                </c:pt>
                <c:pt idx="126">
                  <c:v>12</c:v>
                </c:pt>
                <c:pt idx="127">
                  <c:v>12</c:v>
                </c:pt>
                <c:pt idx="128">
                  <c:v>11</c:v>
                </c:pt>
                <c:pt idx="129">
                  <c:v>10</c:v>
                </c:pt>
                <c:pt idx="130">
                  <c:v>10</c:v>
                </c:pt>
                <c:pt idx="131">
                  <c:v>9</c:v>
                </c:pt>
                <c:pt idx="132">
                  <c:v>9</c:v>
                </c:pt>
                <c:pt idx="133">
                  <c:v>8</c:v>
                </c:pt>
                <c:pt idx="134">
                  <c:v>8</c:v>
                </c:pt>
                <c:pt idx="135">
                  <c:v>8</c:v>
                </c:pt>
                <c:pt idx="136">
                  <c:v>7</c:v>
                </c:pt>
                <c:pt idx="137">
                  <c:v>7</c:v>
                </c:pt>
                <c:pt idx="138">
                  <c:v>7</c:v>
                </c:pt>
                <c:pt idx="139">
                  <c:v>6</c:v>
                </c:pt>
                <c:pt idx="140">
                  <c:v>6</c:v>
                </c:pt>
                <c:pt idx="141">
                  <c:v>6</c:v>
                </c:pt>
                <c:pt idx="142">
                  <c:v>5</c:v>
                </c:pt>
                <c:pt idx="143">
                  <c:v>5</c:v>
                </c:pt>
                <c:pt idx="144">
                  <c:v>5</c:v>
                </c:pt>
                <c:pt idx="145">
                  <c:v>5</c:v>
                </c:pt>
                <c:pt idx="146">
                  <c:v>4</c:v>
                </c:pt>
                <c:pt idx="147">
                  <c:v>4</c:v>
                </c:pt>
                <c:pt idx="148">
                  <c:v>4</c:v>
                </c:pt>
                <c:pt idx="149">
                  <c:v>4</c:v>
                </c:pt>
                <c:pt idx="150">
                  <c:v>4</c:v>
                </c:pt>
                <c:pt idx="151">
                  <c:v>4</c:v>
                </c:pt>
                <c:pt idx="152">
                  <c:v>4</c:v>
                </c:pt>
                <c:pt idx="153">
                  <c:v>3</c:v>
                </c:pt>
                <c:pt idx="154">
                  <c:v>3</c:v>
                </c:pt>
                <c:pt idx="155">
                  <c:v>3</c:v>
                </c:pt>
                <c:pt idx="156">
                  <c:v>3</c:v>
                </c:pt>
                <c:pt idx="157">
                  <c:v>3</c:v>
                </c:pt>
                <c:pt idx="158">
                  <c:v>3</c:v>
                </c:pt>
                <c:pt idx="159">
                  <c:v>3</c:v>
                </c:pt>
                <c:pt idx="160">
                  <c:v>3</c:v>
                </c:pt>
                <c:pt idx="161">
                  <c:v>3</c:v>
                </c:pt>
                <c:pt idx="162">
                  <c:v>3</c:v>
                </c:pt>
                <c:pt idx="163">
                  <c:v>3</c:v>
                </c:pt>
                <c:pt idx="164">
                  <c:v>2</c:v>
                </c:pt>
                <c:pt idx="165">
                  <c:v>2</c:v>
                </c:pt>
                <c:pt idx="166">
                  <c:v>2</c:v>
                </c:pt>
                <c:pt idx="167">
                  <c:v>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14A-45E8-87A1-7BD2345ADB46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0,90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F$155:$F$322</c:f>
              <c:numCache>
                <c:formatCode>General</c:formatCode>
                <c:ptCount val="168"/>
                <c:pt idx="119">
                  <c:v>18</c:v>
                </c:pt>
                <c:pt idx="120">
                  <c:v>19</c:v>
                </c:pt>
                <c:pt idx="121">
                  <c:v>19</c:v>
                </c:pt>
                <c:pt idx="122">
                  <c:v>19</c:v>
                </c:pt>
                <c:pt idx="123">
                  <c:v>18</c:v>
                </c:pt>
                <c:pt idx="124">
                  <c:v>17</c:v>
                </c:pt>
                <c:pt idx="125">
                  <c:v>17</c:v>
                </c:pt>
                <c:pt idx="126">
                  <c:v>17</c:v>
                </c:pt>
                <c:pt idx="127">
                  <c:v>17</c:v>
                </c:pt>
                <c:pt idx="128">
                  <c:v>17</c:v>
                </c:pt>
                <c:pt idx="129">
                  <c:v>17</c:v>
                </c:pt>
                <c:pt idx="130">
                  <c:v>16</c:v>
                </c:pt>
                <c:pt idx="131">
                  <c:v>16</c:v>
                </c:pt>
                <c:pt idx="132">
                  <c:v>16</c:v>
                </c:pt>
                <c:pt idx="133">
                  <c:v>16</c:v>
                </c:pt>
                <c:pt idx="134">
                  <c:v>15</c:v>
                </c:pt>
                <c:pt idx="135">
                  <c:v>15</c:v>
                </c:pt>
                <c:pt idx="136">
                  <c:v>15</c:v>
                </c:pt>
                <c:pt idx="137">
                  <c:v>15</c:v>
                </c:pt>
                <c:pt idx="138">
                  <c:v>15</c:v>
                </c:pt>
                <c:pt idx="139">
                  <c:v>14</c:v>
                </c:pt>
                <c:pt idx="140">
                  <c:v>14</c:v>
                </c:pt>
                <c:pt idx="141">
                  <c:v>14</c:v>
                </c:pt>
                <c:pt idx="142">
                  <c:v>14</c:v>
                </c:pt>
                <c:pt idx="143">
                  <c:v>14</c:v>
                </c:pt>
                <c:pt idx="144">
                  <c:v>14</c:v>
                </c:pt>
                <c:pt idx="145">
                  <c:v>13</c:v>
                </c:pt>
                <c:pt idx="146">
                  <c:v>13</c:v>
                </c:pt>
                <c:pt idx="147">
                  <c:v>13</c:v>
                </c:pt>
                <c:pt idx="148">
                  <c:v>13</c:v>
                </c:pt>
                <c:pt idx="149">
                  <c:v>13</c:v>
                </c:pt>
                <c:pt idx="150">
                  <c:v>13</c:v>
                </c:pt>
                <c:pt idx="151">
                  <c:v>12</c:v>
                </c:pt>
                <c:pt idx="152">
                  <c:v>12</c:v>
                </c:pt>
                <c:pt idx="153">
                  <c:v>12</c:v>
                </c:pt>
                <c:pt idx="154">
                  <c:v>12</c:v>
                </c:pt>
                <c:pt idx="155">
                  <c:v>12</c:v>
                </c:pt>
                <c:pt idx="156">
                  <c:v>12</c:v>
                </c:pt>
                <c:pt idx="157">
                  <c:v>12</c:v>
                </c:pt>
                <c:pt idx="158">
                  <c:v>11</c:v>
                </c:pt>
                <c:pt idx="159">
                  <c:v>11</c:v>
                </c:pt>
                <c:pt idx="160">
                  <c:v>11</c:v>
                </c:pt>
                <c:pt idx="161">
                  <c:v>11</c:v>
                </c:pt>
                <c:pt idx="162">
                  <c:v>11</c:v>
                </c:pt>
                <c:pt idx="163">
                  <c:v>11</c:v>
                </c:pt>
                <c:pt idx="164">
                  <c:v>11</c:v>
                </c:pt>
                <c:pt idx="165">
                  <c:v>11</c:v>
                </c:pt>
                <c:pt idx="166">
                  <c:v>11</c:v>
                </c:pt>
                <c:pt idx="167">
                  <c:v>1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14A-45E8-87A1-7BD2345ADB46}"/>
            </c:ext>
          </c:extLst>
        </c:ser>
        <c:ser>
          <c:idx val="5"/>
          <c:order val="4"/>
          <c:tx>
            <c:strRef>
              <c:f>Sheet1!$G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G$155:$G$322</c:f>
              <c:numCache>
                <c:formatCode>General</c:formatCode>
                <c:ptCount val="168"/>
                <c:pt idx="119">
                  <c:v>18</c:v>
                </c:pt>
                <c:pt idx="120">
                  <c:v>21</c:v>
                </c:pt>
                <c:pt idx="121">
                  <c:v>22</c:v>
                </c:pt>
                <c:pt idx="122">
                  <c:v>22</c:v>
                </c:pt>
                <c:pt idx="123">
                  <c:v>21</c:v>
                </c:pt>
                <c:pt idx="124">
                  <c:v>22</c:v>
                </c:pt>
                <c:pt idx="125">
                  <c:v>22</c:v>
                </c:pt>
                <c:pt idx="126">
                  <c:v>23</c:v>
                </c:pt>
                <c:pt idx="127">
                  <c:v>24</c:v>
                </c:pt>
                <c:pt idx="128">
                  <c:v>24</c:v>
                </c:pt>
                <c:pt idx="129">
                  <c:v>24</c:v>
                </c:pt>
                <c:pt idx="130">
                  <c:v>25</c:v>
                </c:pt>
                <c:pt idx="131">
                  <c:v>25</c:v>
                </c:pt>
                <c:pt idx="132">
                  <c:v>26</c:v>
                </c:pt>
                <c:pt idx="133">
                  <c:v>27</c:v>
                </c:pt>
                <c:pt idx="134">
                  <c:v>27</c:v>
                </c:pt>
                <c:pt idx="135">
                  <c:v>28</c:v>
                </c:pt>
                <c:pt idx="136">
                  <c:v>28</c:v>
                </c:pt>
                <c:pt idx="137">
                  <c:v>29</c:v>
                </c:pt>
                <c:pt idx="138">
                  <c:v>29</c:v>
                </c:pt>
                <c:pt idx="139">
                  <c:v>30</c:v>
                </c:pt>
                <c:pt idx="140">
                  <c:v>31</c:v>
                </c:pt>
                <c:pt idx="141">
                  <c:v>31</c:v>
                </c:pt>
                <c:pt idx="142">
                  <c:v>32</c:v>
                </c:pt>
                <c:pt idx="143">
                  <c:v>33</c:v>
                </c:pt>
                <c:pt idx="144">
                  <c:v>33</c:v>
                </c:pt>
                <c:pt idx="145">
                  <c:v>34</c:v>
                </c:pt>
                <c:pt idx="146">
                  <c:v>34</c:v>
                </c:pt>
                <c:pt idx="147">
                  <c:v>35</c:v>
                </c:pt>
                <c:pt idx="148">
                  <c:v>36</c:v>
                </c:pt>
                <c:pt idx="149">
                  <c:v>37</c:v>
                </c:pt>
                <c:pt idx="150">
                  <c:v>37</c:v>
                </c:pt>
                <c:pt idx="151">
                  <c:v>38</c:v>
                </c:pt>
                <c:pt idx="152">
                  <c:v>39</c:v>
                </c:pt>
                <c:pt idx="153">
                  <c:v>40</c:v>
                </c:pt>
                <c:pt idx="154">
                  <c:v>40</c:v>
                </c:pt>
                <c:pt idx="155">
                  <c:v>41</c:v>
                </c:pt>
                <c:pt idx="156">
                  <c:v>42</c:v>
                </c:pt>
                <c:pt idx="157">
                  <c:v>43</c:v>
                </c:pt>
                <c:pt idx="158">
                  <c:v>43</c:v>
                </c:pt>
                <c:pt idx="159">
                  <c:v>44</c:v>
                </c:pt>
                <c:pt idx="160">
                  <c:v>45</c:v>
                </c:pt>
                <c:pt idx="161">
                  <c:v>46</c:v>
                </c:pt>
                <c:pt idx="162">
                  <c:v>47</c:v>
                </c:pt>
                <c:pt idx="163">
                  <c:v>48</c:v>
                </c:pt>
                <c:pt idx="164">
                  <c:v>49</c:v>
                </c:pt>
                <c:pt idx="165">
                  <c:v>50</c:v>
                </c:pt>
                <c:pt idx="166">
                  <c:v>51</c:v>
                </c:pt>
                <c:pt idx="167">
                  <c:v>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31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15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1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5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H$2:$H$169</c:f>
              <c:numCache>
                <c:formatCode>General</c:formatCode>
                <c:ptCount val="168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  <c:pt idx="126">
                  <c:v>100</c:v>
                </c:pt>
                <c:pt idx="127">
                  <c:v>100</c:v>
                </c:pt>
                <c:pt idx="128">
                  <c:v>100</c:v>
                </c:pt>
                <c:pt idx="129">
                  <c:v>100</c:v>
                </c:pt>
                <c:pt idx="130">
                  <c:v>100</c:v>
                </c:pt>
                <c:pt idx="131">
                  <c:v>100</c:v>
                </c:pt>
                <c:pt idx="132">
                  <c:v>100</c:v>
                </c:pt>
                <c:pt idx="133">
                  <c:v>100</c:v>
                </c:pt>
                <c:pt idx="134">
                  <c:v>100</c:v>
                </c:pt>
                <c:pt idx="135">
                  <c:v>100</c:v>
                </c:pt>
                <c:pt idx="136">
                  <c:v>100</c:v>
                </c:pt>
                <c:pt idx="137">
                  <c:v>100</c:v>
                </c:pt>
                <c:pt idx="138">
                  <c:v>100</c:v>
                </c:pt>
                <c:pt idx="139">
                  <c:v>100</c:v>
                </c:pt>
                <c:pt idx="140">
                  <c:v>100</c:v>
                </c:pt>
                <c:pt idx="141">
                  <c:v>100</c:v>
                </c:pt>
                <c:pt idx="142">
                  <c:v>100</c:v>
                </c:pt>
                <c:pt idx="143">
                  <c:v>100</c:v>
                </c:pt>
                <c:pt idx="144">
                  <c:v>100</c:v>
                </c:pt>
                <c:pt idx="145">
                  <c:v>100</c:v>
                </c:pt>
                <c:pt idx="146">
                  <c:v>100</c:v>
                </c:pt>
                <c:pt idx="147">
                  <c:v>100</c:v>
                </c:pt>
                <c:pt idx="148">
                  <c:v>100</c:v>
                </c:pt>
                <c:pt idx="149">
                  <c:v>100</c:v>
                </c:pt>
                <c:pt idx="150">
                  <c:v>100</c:v>
                </c:pt>
                <c:pt idx="151">
                  <c:v>100</c:v>
                </c:pt>
                <c:pt idx="152">
                  <c:v>100</c:v>
                </c:pt>
                <c:pt idx="153">
                  <c:v>100</c:v>
                </c:pt>
                <c:pt idx="154">
                  <c:v>100</c:v>
                </c:pt>
                <c:pt idx="155">
                  <c:v>100</c:v>
                </c:pt>
                <c:pt idx="156">
                  <c:v>100</c:v>
                </c:pt>
                <c:pt idx="157">
                  <c:v>100</c:v>
                </c:pt>
                <c:pt idx="158">
                  <c:v>100</c:v>
                </c:pt>
                <c:pt idx="159">
                  <c:v>100</c:v>
                </c:pt>
                <c:pt idx="160">
                  <c:v>100</c:v>
                </c:pt>
                <c:pt idx="161">
                  <c:v>100</c:v>
                </c:pt>
                <c:pt idx="162">
                  <c:v>100</c:v>
                </c:pt>
                <c:pt idx="163">
                  <c:v>100</c:v>
                </c:pt>
                <c:pt idx="164">
                  <c:v>100</c:v>
                </c:pt>
                <c:pt idx="165">
                  <c:v>100</c:v>
                </c:pt>
                <c:pt idx="166">
                  <c:v>100</c:v>
                </c:pt>
                <c:pt idx="167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EF5-483F-B422-4E0629062509}"/>
            </c:ext>
          </c:extLst>
        </c:ser>
        <c:ser>
          <c:idx val="7"/>
          <c:order val="6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rgbClr val="C2FFDF"/>
            </a:solidFill>
            <a:ln>
              <a:noFill/>
            </a:ln>
            <a:effectLst/>
          </c:spP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I$2:$I$169</c:f>
              <c:numCache>
                <c:formatCode>General</c:formatCode>
                <c:ptCount val="168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  <c:pt idx="79">
                  <c:v>50</c:v>
                </c:pt>
                <c:pt idx="80">
                  <c:v>50</c:v>
                </c:pt>
                <c:pt idx="81">
                  <c:v>50</c:v>
                </c:pt>
                <c:pt idx="82">
                  <c:v>50</c:v>
                </c:pt>
                <c:pt idx="83">
                  <c:v>50</c:v>
                </c:pt>
                <c:pt idx="84">
                  <c:v>50</c:v>
                </c:pt>
                <c:pt idx="85">
                  <c:v>50</c:v>
                </c:pt>
                <c:pt idx="86">
                  <c:v>50</c:v>
                </c:pt>
                <c:pt idx="87">
                  <c:v>50</c:v>
                </c:pt>
                <c:pt idx="88">
                  <c:v>50</c:v>
                </c:pt>
                <c:pt idx="89">
                  <c:v>50</c:v>
                </c:pt>
                <c:pt idx="90">
                  <c:v>50</c:v>
                </c:pt>
                <c:pt idx="91">
                  <c:v>50</c:v>
                </c:pt>
                <c:pt idx="92">
                  <c:v>50</c:v>
                </c:pt>
                <c:pt idx="93">
                  <c:v>50</c:v>
                </c:pt>
                <c:pt idx="94">
                  <c:v>50</c:v>
                </c:pt>
                <c:pt idx="95">
                  <c:v>50</c:v>
                </c:pt>
                <c:pt idx="96">
                  <c:v>50</c:v>
                </c:pt>
                <c:pt idx="97">
                  <c:v>50</c:v>
                </c:pt>
                <c:pt idx="98">
                  <c:v>50</c:v>
                </c:pt>
                <c:pt idx="99">
                  <c:v>50</c:v>
                </c:pt>
                <c:pt idx="100">
                  <c:v>50</c:v>
                </c:pt>
                <c:pt idx="101">
                  <c:v>50</c:v>
                </c:pt>
                <c:pt idx="102">
                  <c:v>50</c:v>
                </c:pt>
                <c:pt idx="103">
                  <c:v>50</c:v>
                </c:pt>
                <c:pt idx="104">
                  <c:v>50</c:v>
                </c:pt>
                <c:pt idx="105">
                  <c:v>50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  <c:pt idx="110">
                  <c:v>50</c:v>
                </c:pt>
                <c:pt idx="111">
                  <c:v>50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0</c:v>
                </c:pt>
                <c:pt idx="122">
                  <c:v>50</c:v>
                </c:pt>
                <c:pt idx="123">
                  <c:v>50</c:v>
                </c:pt>
                <c:pt idx="124">
                  <c:v>50</c:v>
                </c:pt>
                <c:pt idx="125">
                  <c:v>50</c:v>
                </c:pt>
                <c:pt idx="126">
                  <c:v>50</c:v>
                </c:pt>
                <c:pt idx="127">
                  <c:v>50</c:v>
                </c:pt>
                <c:pt idx="128">
                  <c:v>50</c:v>
                </c:pt>
                <c:pt idx="129">
                  <c:v>50</c:v>
                </c:pt>
                <c:pt idx="130">
                  <c:v>50</c:v>
                </c:pt>
                <c:pt idx="131">
                  <c:v>50</c:v>
                </c:pt>
                <c:pt idx="132">
                  <c:v>50</c:v>
                </c:pt>
                <c:pt idx="133">
                  <c:v>50</c:v>
                </c:pt>
                <c:pt idx="134">
                  <c:v>50</c:v>
                </c:pt>
                <c:pt idx="135">
                  <c:v>50</c:v>
                </c:pt>
                <c:pt idx="136">
                  <c:v>50</c:v>
                </c:pt>
                <c:pt idx="137">
                  <c:v>50</c:v>
                </c:pt>
                <c:pt idx="138">
                  <c:v>50</c:v>
                </c:pt>
                <c:pt idx="139">
                  <c:v>50</c:v>
                </c:pt>
                <c:pt idx="140">
                  <c:v>50</c:v>
                </c:pt>
                <c:pt idx="141">
                  <c:v>50</c:v>
                </c:pt>
                <c:pt idx="142">
                  <c:v>50</c:v>
                </c:pt>
                <c:pt idx="143">
                  <c:v>50</c:v>
                </c:pt>
                <c:pt idx="144">
                  <c:v>50</c:v>
                </c:pt>
                <c:pt idx="145">
                  <c:v>50</c:v>
                </c:pt>
                <c:pt idx="146">
                  <c:v>50</c:v>
                </c:pt>
                <c:pt idx="147">
                  <c:v>50</c:v>
                </c:pt>
                <c:pt idx="148">
                  <c:v>50</c:v>
                </c:pt>
                <c:pt idx="149">
                  <c:v>50</c:v>
                </c:pt>
                <c:pt idx="150">
                  <c:v>50</c:v>
                </c:pt>
                <c:pt idx="151">
                  <c:v>50</c:v>
                </c:pt>
                <c:pt idx="152">
                  <c:v>50</c:v>
                </c:pt>
                <c:pt idx="153">
                  <c:v>50</c:v>
                </c:pt>
                <c:pt idx="154">
                  <c:v>50</c:v>
                </c:pt>
                <c:pt idx="155">
                  <c:v>50</c:v>
                </c:pt>
                <c:pt idx="156">
                  <c:v>50</c:v>
                </c:pt>
                <c:pt idx="157">
                  <c:v>50</c:v>
                </c:pt>
                <c:pt idx="158">
                  <c:v>50</c:v>
                </c:pt>
                <c:pt idx="159">
                  <c:v>50</c:v>
                </c:pt>
                <c:pt idx="160">
                  <c:v>50</c:v>
                </c:pt>
                <c:pt idx="161">
                  <c:v>50</c:v>
                </c:pt>
                <c:pt idx="162">
                  <c:v>50</c:v>
                </c:pt>
                <c:pt idx="163">
                  <c:v>50</c:v>
                </c:pt>
                <c:pt idx="164">
                  <c:v>50</c:v>
                </c:pt>
                <c:pt idx="165">
                  <c:v>50</c:v>
                </c:pt>
                <c:pt idx="166">
                  <c:v>50</c:v>
                </c:pt>
                <c:pt idx="167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EF5-483F-B422-4E06290625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B$2:$B$169</c:f>
              <c:numCache>
                <c:formatCode>0</c:formatCode>
                <c:ptCount val="168"/>
                <c:pt idx="0">
                  <c:v>444.99151869824988</c:v>
                </c:pt>
                <c:pt idx="1">
                  <c:v>444.58037202606636</c:v>
                </c:pt>
                <c:pt idx="2">
                  <c:v>455.43838186873074</c:v>
                </c:pt>
                <c:pt idx="3">
                  <c:v>456.33542915349477</c:v>
                </c:pt>
                <c:pt idx="4">
                  <c:v>461.68033589188036</c:v>
                </c:pt>
                <c:pt idx="5">
                  <c:v>468.80999295724433</c:v>
                </c:pt>
                <c:pt idx="6">
                  <c:v>467.66065112364043</c:v>
                </c:pt>
                <c:pt idx="7">
                  <c:v>472.81867301103358</c:v>
                </c:pt>
                <c:pt idx="8">
                  <c:v>483.39635557720925</c:v>
                </c:pt>
                <c:pt idx="9">
                  <c:v>482.21898101595656</c:v>
                </c:pt>
                <c:pt idx="10">
                  <c:v>490.74093022121463</c:v>
                </c:pt>
                <c:pt idx="11">
                  <c:v>492.65649994388787</c:v>
                </c:pt>
                <c:pt idx="12">
                  <c:v>495.66534604486714</c:v>
                </c:pt>
                <c:pt idx="13">
                  <c:v>499.67402609865633</c:v>
                </c:pt>
                <c:pt idx="14">
                  <c:v>510.23302017973276</c:v>
                </c:pt>
                <c:pt idx="15">
                  <c:v>531.95838410761121</c:v>
                </c:pt>
                <c:pt idx="16">
                  <c:v>545.0309794345369</c:v>
                </c:pt>
                <c:pt idx="17">
                  <c:v>570.12961492283011</c:v>
                </c:pt>
                <c:pt idx="18">
                  <c:v>593.08841886725918</c:v>
                </c:pt>
                <c:pt idx="19">
                  <c:v>608.34756695079705</c:v>
                </c:pt>
                <c:pt idx="20">
                  <c:v>619.46721558485103</c:v>
                </c:pt>
                <c:pt idx="21">
                  <c:v>642.89323165676137</c:v>
                </c:pt>
                <c:pt idx="22">
                  <c:v>673.12185630479871</c:v>
                </c:pt>
                <c:pt idx="23">
                  <c:v>699.85573423927633</c:v>
                </c:pt>
                <c:pt idx="24">
                  <c:v>726.8045297523953</c:v>
                </c:pt>
                <c:pt idx="25">
                  <c:v>759.41593625058715</c:v>
                </c:pt>
                <c:pt idx="26">
                  <c:v>769.56378365948012</c:v>
                </c:pt>
                <c:pt idx="27">
                  <c:v>774.41344554273553</c:v>
                </c:pt>
                <c:pt idx="28">
                  <c:v>782.92605050544398</c:v>
                </c:pt>
                <c:pt idx="29">
                  <c:v>791.71898274464138</c:v>
                </c:pt>
                <c:pt idx="30">
                  <c:v>805.16534777355207</c:v>
                </c:pt>
                <c:pt idx="31">
                  <c:v>805.7260023265294</c:v>
                </c:pt>
                <c:pt idx="32">
                  <c:v>790.7098045492819</c:v>
                </c:pt>
                <c:pt idx="33">
                  <c:v>802.56764834475621</c:v>
                </c:pt>
                <c:pt idx="34">
                  <c:v>796.90503735968343</c:v>
                </c:pt>
                <c:pt idx="35">
                  <c:v>781.29080805925969</c:v>
                </c:pt>
                <c:pt idx="36">
                  <c:v>767.98460666859341</c:v>
                </c:pt>
                <c:pt idx="37">
                  <c:v>761.42494839875667</c:v>
                </c:pt>
                <c:pt idx="38">
                  <c:v>729.61714675983251</c:v>
                </c:pt>
                <c:pt idx="39">
                  <c:v>746.50219304700522</c:v>
                </c:pt>
                <c:pt idx="40">
                  <c:v>726.860595207693</c:v>
                </c:pt>
                <c:pt idx="41">
                  <c:v>720.79618179298632</c:v>
                </c:pt>
                <c:pt idx="42">
                  <c:v>720.58126421434497</c:v>
                </c:pt>
                <c:pt idx="43">
                  <c:v>708.11604465314497</c:v>
                </c:pt>
                <c:pt idx="44">
                  <c:v>684.6713400961354</c:v>
                </c:pt>
                <c:pt idx="45">
                  <c:v>679.2143024471543</c:v>
                </c:pt>
                <c:pt idx="46">
                  <c:v>630.02620966592747</c:v>
                </c:pt>
                <c:pt idx="47">
                  <c:v>615.43984704596255</c:v>
                </c:pt>
                <c:pt idx="48">
                  <c:v>606.62822632166603</c:v>
                </c:pt>
                <c:pt idx="49">
                  <c:v>584.29548662806189</c:v>
                </c:pt>
                <c:pt idx="50">
                  <c:v>555.71144866875841</c:v>
                </c:pt>
                <c:pt idx="51">
                  <c:v>526.0154458460496</c:v>
                </c:pt>
                <c:pt idx="52">
                  <c:v>500.44959823027523</c:v>
                </c:pt>
                <c:pt idx="53">
                  <c:v>481.77045737357446</c:v>
                </c:pt>
                <c:pt idx="54">
                  <c:v>467.78212627678568</c:v>
                </c:pt>
                <c:pt idx="55">
                  <c:v>461.73640134717817</c:v>
                </c:pt>
                <c:pt idx="56">
                  <c:v>449.55150906246695</c:v>
                </c:pt>
                <c:pt idx="57">
                  <c:v>427.74204695164178</c:v>
                </c:pt>
                <c:pt idx="58">
                  <c:v>412.94076675303546</c:v>
                </c:pt>
                <c:pt idx="59">
                  <c:v>397.24243926966528</c:v>
                </c:pt>
                <c:pt idx="60">
                  <c:v>361.00546666221879</c:v>
                </c:pt>
                <c:pt idx="61">
                  <c:v>344.09238764739729</c:v>
                </c:pt>
                <c:pt idx="62">
                  <c:v>345.78369554887939</c:v>
                </c:pt>
                <c:pt idx="63">
                  <c:v>294.22216516004772</c:v>
                </c:pt>
                <c:pt idx="64">
                  <c:v>265.72222538369095</c:v>
                </c:pt>
                <c:pt idx="65">
                  <c:v>263.71321323552155</c:v>
                </c:pt>
                <c:pt idx="66">
                  <c:v>254.71470766023253</c:v>
                </c:pt>
                <c:pt idx="67">
                  <c:v>263.90944232906367</c:v>
                </c:pt>
                <c:pt idx="68">
                  <c:v>264.34862172889609</c:v>
                </c:pt>
                <c:pt idx="69">
                  <c:v>255.56503373224837</c:v>
                </c:pt>
                <c:pt idx="70">
                  <c:v>278.44908373628044</c:v>
                </c:pt>
                <c:pt idx="71">
                  <c:v>273.5059794275287</c:v>
                </c:pt>
                <c:pt idx="72">
                  <c:v>242.33358628197917</c:v>
                </c:pt>
                <c:pt idx="73">
                  <c:v>223.45821633173634</c:v>
                </c:pt>
                <c:pt idx="74">
                  <c:v>208.47939552468716</c:v>
                </c:pt>
                <c:pt idx="75">
                  <c:v>202.25612998663678</c:v>
                </c:pt>
                <c:pt idx="76">
                  <c:v>200.83580511909378</c:v>
                </c:pt>
                <c:pt idx="77">
                  <c:v>195.91138929544132</c:v>
                </c:pt>
                <c:pt idx="78">
                  <c:v>184.33387277645573</c:v>
                </c:pt>
                <c:pt idx="79">
                  <c:v>177.18552722599244</c:v>
                </c:pt>
                <c:pt idx="80">
                  <c:v>171.2612774495301</c:v>
                </c:pt>
                <c:pt idx="81">
                  <c:v>165.50522403896102</c:v>
                </c:pt>
                <c:pt idx="82">
                  <c:v>163.32801552489835</c:v>
                </c:pt>
                <c:pt idx="83">
                  <c:v>163.25326158450133</c:v>
                </c:pt>
                <c:pt idx="84">
                  <c:v>156.14229300423659</c:v>
                </c:pt>
                <c:pt idx="85">
                  <c:v>150.75066505310286</c:v>
                </c:pt>
                <c:pt idx="86">
                  <c:v>146.4242807526264</c:v>
                </c:pt>
                <c:pt idx="87">
                  <c:v>142.68658373277634</c:v>
                </c:pt>
                <c:pt idx="88">
                  <c:v>138.62183822368939</c:v>
                </c:pt>
                <c:pt idx="89">
                  <c:v>137.34167699439072</c:v>
                </c:pt>
                <c:pt idx="90">
                  <c:v>134.37955210615957</c:v>
                </c:pt>
                <c:pt idx="91">
                  <c:v>131.00628054574489</c:v>
                </c:pt>
                <c:pt idx="92">
                  <c:v>123.30662468485374</c:v>
                </c:pt>
                <c:pt idx="93">
                  <c:v>117.55991551683427</c:v>
                </c:pt>
                <c:pt idx="94">
                  <c:v>111.42074816173051</c:v>
                </c:pt>
                <c:pt idx="95">
                  <c:v>106.48698809552845</c:v>
                </c:pt>
                <c:pt idx="96">
                  <c:v>102.31945591839562</c:v>
                </c:pt>
                <c:pt idx="97">
                  <c:v>101.15142559969246</c:v>
                </c:pt>
                <c:pt idx="98">
                  <c:v>94.844061878695484</c:v>
                </c:pt>
                <c:pt idx="99">
                  <c:v>88.069486030217234</c:v>
                </c:pt>
                <c:pt idx="100">
                  <c:v>82.378842317495497</c:v>
                </c:pt>
                <c:pt idx="101">
                  <c:v>79.117701667676315</c:v>
                </c:pt>
                <c:pt idx="102">
                  <c:v>73.632631291046337</c:v>
                </c:pt>
                <c:pt idx="103">
                  <c:v>72.436568244694314</c:v>
                </c:pt>
                <c:pt idx="104">
                  <c:v>71.259193683441538</c:v>
                </c:pt>
                <c:pt idx="105">
                  <c:v>67.371988782797473</c:v>
                </c:pt>
                <c:pt idx="106">
                  <c:v>62.774621448381893</c:v>
                </c:pt>
                <c:pt idx="107">
                  <c:v>58.233319569264054</c:v>
                </c:pt>
                <c:pt idx="108">
                  <c:v>53.140707379718343</c:v>
                </c:pt>
                <c:pt idx="109">
                  <c:v>49.589895210860767</c:v>
                </c:pt>
                <c:pt idx="110">
                  <c:v>47.123015177759733</c:v>
                </c:pt>
                <c:pt idx="111">
                  <c:v>46.553016382232599</c:v>
                </c:pt>
                <c:pt idx="112">
                  <c:v>42.525647843344146</c:v>
                </c:pt>
                <c:pt idx="113">
                  <c:v>37.507789594195437</c:v>
                </c:pt>
                <c:pt idx="114">
                  <c:v>35.265171382285388</c:v>
                </c:pt>
                <c:pt idx="115">
                  <c:v>33.657961663749859</c:v>
                </c:pt>
                <c:pt idx="116">
                  <c:v>31.611572545381946</c:v>
                </c:pt>
                <c:pt idx="117">
                  <c:v>30.574361622373555</c:v>
                </c:pt>
                <c:pt idx="118">
                  <c:v>29.789445248205041</c:v>
                </c:pt>
                <c:pt idx="119">
                  <c:v>28.051416133974758</c:v>
                </c:pt>
                <c:pt idx="120">
                  <c:v>26.341419747393353</c:v>
                </c:pt>
                <c:pt idx="121">
                  <c:v>24.575357905514199</c:v>
                </c:pt>
                <c:pt idx="122">
                  <c:v>23.799785773895309</c:v>
                </c:pt>
                <c:pt idx="123">
                  <c:v>22.557001514795161</c:v>
                </c:pt>
                <c:pt idx="124">
                  <c:v>21.902904536321397</c:v>
                </c:pt>
                <c:pt idx="125">
                  <c:v>21.753396655527396</c:v>
                </c:pt>
                <c:pt idx="126">
                  <c:v>19.725696022258731</c:v>
                </c:pt>
                <c:pt idx="127">
                  <c:v>18.847337222593968</c:v>
                </c:pt>
                <c:pt idx="128">
                  <c:v>17.922257210181076</c:v>
                </c:pt>
                <c:pt idx="129">
                  <c:v>15.745048696118412</c:v>
                </c:pt>
                <c:pt idx="130">
                  <c:v>14.436854739170887</c:v>
                </c:pt>
                <c:pt idx="131">
                  <c:v>13.698659577750499</c:v>
                </c:pt>
                <c:pt idx="132">
                  <c:v>13.184726237521115</c:v>
                </c:pt>
                <c:pt idx="133">
                  <c:v>12.07276137411572</c:v>
                </c:pt>
                <c:pt idx="134">
                  <c:v>10.409486200282439</c:v>
                </c:pt>
                <c:pt idx="135">
                  <c:v>9.2694886092281674</c:v>
                </c:pt>
                <c:pt idx="136">
                  <c:v>8.9611286050905381</c:v>
                </c:pt>
                <c:pt idx="137">
                  <c:v>8.6060473882047823</c:v>
                </c:pt>
                <c:pt idx="138">
                  <c:v>8.5126049627085294</c:v>
                </c:pt>
                <c:pt idx="139">
                  <c:v>8.6621128435025323</c:v>
                </c:pt>
                <c:pt idx="140">
                  <c:v>8.1294910181738977</c:v>
                </c:pt>
                <c:pt idx="141">
                  <c:v>7.2511322185091318</c:v>
                </c:pt>
                <c:pt idx="142">
                  <c:v>7.0642473675166286</c:v>
                </c:pt>
                <c:pt idx="143">
                  <c:v>6.5035928145391182</c:v>
                </c:pt>
                <c:pt idx="144">
                  <c:v>6.4662158443406179</c:v>
                </c:pt>
                <c:pt idx="145">
                  <c:v>6.5129370570887435</c:v>
                </c:pt>
                <c:pt idx="146">
                  <c:v>6.51293705708874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C$2:$C$169</c:f>
              <c:numCache>
                <c:formatCode>General</c:formatCode>
                <c:ptCount val="16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14A-45E8-87A1-7BD2345ADB4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75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D$2:$D$169</c:f>
              <c:numCache>
                <c:formatCode>General</c:formatCode>
                <c:ptCount val="168"/>
                <c:pt idx="119" formatCode="0">
                  <c:v>28.462562806158267</c:v>
                </c:pt>
                <c:pt idx="120" formatCode="0">
                  <c:v>26.659123994080609</c:v>
                </c:pt>
                <c:pt idx="121" formatCode="0">
                  <c:v>24.986504577697705</c:v>
                </c:pt>
                <c:pt idx="122" formatCode="0">
                  <c:v>23.463393042108802</c:v>
                </c:pt>
                <c:pt idx="123" formatCode="0">
                  <c:v>22.061756659665026</c:v>
                </c:pt>
                <c:pt idx="124" formatCode="0">
                  <c:v>20.781595430366377</c:v>
                </c:pt>
                <c:pt idx="125" formatCode="0">
                  <c:v>19.604220869113608</c:v>
                </c:pt>
                <c:pt idx="126" formatCode="0">
                  <c:v>18.510944490807461</c:v>
                </c:pt>
                <c:pt idx="127" formatCode="0">
                  <c:v>17.473733567799066</c:v>
                </c:pt>
                <c:pt idx="128" formatCode="0">
                  <c:v>16.492588100088422</c:v>
                </c:pt>
                <c:pt idx="129" formatCode="0">
                  <c:v>15.576852330225158</c:v>
                </c:pt>
                <c:pt idx="130" formatCode="0">
                  <c:v>14.726526258209267</c:v>
                </c:pt>
                <c:pt idx="131" formatCode="0">
                  <c:v>13.932265641491126</c:v>
                </c:pt>
                <c:pt idx="132" formatCode="0">
                  <c:v>13.184726237521115</c:v>
                </c:pt>
                <c:pt idx="133" formatCode="0">
                  <c:v>12.493252288848852</c:v>
                </c:pt>
                <c:pt idx="134" formatCode="0">
                  <c:v>11.829811067825464</c:v>
                </c:pt>
                <c:pt idx="135" formatCode="0">
                  <c:v>11.213091059550203</c:v>
                </c:pt>
                <c:pt idx="136" formatCode="0">
                  <c:v>10.633748021473442</c:v>
                </c:pt>
                <c:pt idx="137" formatCode="0">
                  <c:v>10.091781953595182</c:v>
                </c:pt>
                <c:pt idx="138" formatCode="0">
                  <c:v>9.5871928559154238</c:v>
                </c:pt>
                <c:pt idx="139" formatCode="0">
                  <c:v>9.1199807284341663</c:v>
                </c:pt>
                <c:pt idx="140" formatCode="0">
                  <c:v>8.6714570860521576</c:v>
                </c:pt>
                <c:pt idx="141" formatCode="0">
                  <c:v>8.2603104138686501</c:v>
                </c:pt>
                <c:pt idx="142" formatCode="0">
                  <c:v>7.8678522267843931</c:v>
                </c:pt>
                <c:pt idx="143" formatCode="0">
                  <c:v>7.503426767349012</c:v>
                </c:pt>
                <c:pt idx="144" formatCode="0">
                  <c:v>7.1670340355625051</c:v>
                </c:pt>
                <c:pt idx="145" formatCode="0">
                  <c:v>6.8399855463256243</c:v>
                </c:pt>
                <c:pt idx="146" formatCode="0">
                  <c:v>6.5316255421879932</c:v>
                </c:pt>
                <c:pt idx="147" formatCode="0">
                  <c:v>6.2419540231496136</c:v>
                </c:pt>
                <c:pt idx="148" formatCode="0">
                  <c:v>5.9803152317601089</c:v>
                </c:pt>
                <c:pt idx="149" formatCode="0">
                  <c:v>5.7280206829202287</c:v>
                </c:pt>
                <c:pt idx="150" formatCode="0">
                  <c:v>5.4944146191795991</c:v>
                </c:pt>
                <c:pt idx="151" formatCode="0">
                  <c:v>5.2701527979885956</c:v>
                </c:pt>
                <c:pt idx="152" formatCode="0">
                  <c:v>5.0645794618968418</c:v>
                </c:pt>
                <c:pt idx="153" formatCode="0">
                  <c:v>4.8683503683547134</c:v>
                </c:pt>
                <c:pt idx="154" formatCode="0">
                  <c:v>4.6908097599118355</c:v>
                </c:pt>
                <c:pt idx="155" formatCode="0">
                  <c:v>4.5132691514689576</c:v>
                </c:pt>
                <c:pt idx="156" formatCode="0">
                  <c:v>4.3637612706749547</c:v>
                </c:pt>
                <c:pt idx="157" formatCode="0">
                  <c:v>4.2142533898809518</c:v>
                </c:pt>
                <c:pt idx="158" formatCode="0">
                  <c:v>4.0834339941861986</c:v>
                </c:pt>
                <c:pt idx="159" formatCode="0">
                  <c:v>3.9526145984914467</c:v>
                </c:pt>
                <c:pt idx="160" formatCode="0">
                  <c:v>3.8311394453463197</c:v>
                </c:pt>
                <c:pt idx="161" formatCode="0">
                  <c:v>3.7190085347508175</c:v>
                </c:pt>
                <c:pt idx="162" formatCode="0">
                  <c:v>3.6068776241553153</c:v>
                </c:pt>
                <c:pt idx="163" formatCode="0">
                  <c:v>3.5040909561094389</c:v>
                </c:pt>
                <c:pt idx="164" formatCode="0">
                  <c:v>3.4106485306131873</c:v>
                </c:pt>
                <c:pt idx="165" formatCode="0">
                  <c:v>3.3172061051169357</c:v>
                </c:pt>
                <c:pt idx="166" formatCode="0">
                  <c:v>3.2237636796206832</c:v>
                </c:pt>
                <c:pt idx="167" formatCode="0">
                  <c:v>3.14900973922368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14A-45E8-87A1-7BD2345ADB46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0,95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F$2:$F$169</c:f>
              <c:numCache>
                <c:formatCode>General</c:formatCode>
                <c:ptCount val="168"/>
                <c:pt idx="119" formatCode="0">
                  <c:v>28.462562806158267</c:v>
                </c:pt>
                <c:pt idx="120" formatCode="0">
                  <c:v>26.995516725867116</c:v>
                </c:pt>
                <c:pt idx="121" formatCode="0">
                  <c:v>25.827486407163967</c:v>
                </c:pt>
                <c:pt idx="122" formatCode="0">
                  <c:v>24.893062152201452</c:v>
                </c:pt>
                <c:pt idx="123" formatCode="0">
                  <c:v>24.117490020582562</c:v>
                </c:pt>
                <c:pt idx="124" formatCode="0">
                  <c:v>23.528802739956177</c:v>
                </c:pt>
                <c:pt idx="125" formatCode="0">
                  <c:v>23.145688795421545</c:v>
                </c:pt>
                <c:pt idx="126" formatCode="0">
                  <c:v>22.968148186978667</c:v>
                </c:pt>
                <c:pt idx="127" formatCode="0">
                  <c:v>22.613066970092909</c:v>
                </c:pt>
                <c:pt idx="128" formatCode="0">
                  <c:v>22.201920297909403</c:v>
                </c:pt>
                <c:pt idx="129" formatCode="0">
                  <c:v>21.818806353374772</c:v>
                </c:pt>
                <c:pt idx="130" formatCode="0">
                  <c:v>21.501102106687515</c:v>
                </c:pt>
                <c:pt idx="131" formatCode="0">
                  <c:v>21.239463315298011</c:v>
                </c:pt>
                <c:pt idx="132" formatCode="0">
                  <c:v>20.987168766458133</c:v>
                </c:pt>
                <c:pt idx="133" formatCode="0">
                  <c:v>20.716185732519001</c:v>
                </c:pt>
                <c:pt idx="134" formatCode="0">
                  <c:v>20.407825728381368</c:v>
                </c:pt>
                <c:pt idx="135" formatCode="0">
                  <c:v>20.108809966793366</c:v>
                </c:pt>
                <c:pt idx="136" formatCode="0">
                  <c:v>19.828482690304611</c:v>
                </c:pt>
                <c:pt idx="137" formatCode="0">
                  <c:v>19.585532384014353</c:v>
                </c:pt>
                <c:pt idx="138" formatCode="0">
                  <c:v>19.333237835174476</c:v>
                </c:pt>
                <c:pt idx="139" formatCode="0">
                  <c:v>19.071599043784971</c:v>
                </c:pt>
                <c:pt idx="140" formatCode="0">
                  <c:v>18.809960252395467</c:v>
                </c:pt>
                <c:pt idx="141" formatCode="0">
                  <c:v>18.557665703555585</c:v>
                </c:pt>
                <c:pt idx="142" formatCode="0">
                  <c:v>18.314715397265331</c:v>
                </c:pt>
                <c:pt idx="143" formatCode="0">
                  <c:v>18.090453576074328</c:v>
                </c:pt>
                <c:pt idx="144" formatCode="0">
                  <c:v>17.866191754883324</c:v>
                </c:pt>
                <c:pt idx="145" formatCode="0">
                  <c:v>17.641929933692321</c:v>
                </c:pt>
                <c:pt idx="146" formatCode="0">
                  <c:v>17.417668112501318</c:v>
                </c:pt>
                <c:pt idx="147" formatCode="0">
                  <c:v>17.193406291310311</c:v>
                </c:pt>
                <c:pt idx="148" formatCode="0">
                  <c:v>16.978488712668934</c:v>
                </c:pt>
                <c:pt idx="149" formatCode="0">
                  <c:v>16.772915376577181</c:v>
                </c:pt>
                <c:pt idx="150" formatCode="0">
                  <c:v>16.567342040485425</c:v>
                </c:pt>
                <c:pt idx="151" formatCode="0">
                  <c:v>16.361768704393672</c:v>
                </c:pt>
                <c:pt idx="152" formatCode="0">
                  <c:v>16.156195368301919</c:v>
                </c:pt>
                <c:pt idx="153" formatCode="0">
                  <c:v>15.95996627475979</c:v>
                </c:pt>
                <c:pt idx="154" formatCode="0">
                  <c:v>15.773081423767286</c:v>
                </c:pt>
                <c:pt idx="155" formatCode="0">
                  <c:v>15.586196572774783</c:v>
                </c:pt>
                <c:pt idx="156" formatCode="0">
                  <c:v>15.399311721782279</c:v>
                </c:pt>
                <c:pt idx="157" formatCode="0">
                  <c:v>15.221771113339402</c:v>
                </c:pt>
                <c:pt idx="158" formatCode="0">
                  <c:v>15.044230504896523</c:v>
                </c:pt>
                <c:pt idx="159" formatCode="0">
                  <c:v>14.87603413900327</c:v>
                </c:pt>
                <c:pt idx="160" formatCode="0">
                  <c:v>14.707837773110016</c:v>
                </c:pt>
                <c:pt idx="161" formatCode="0">
                  <c:v>14.539641407216765</c:v>
                </c:pt>
                <c:pt idx="162" formatCode="0">
                  <c:v>14.371445041323511</c:v>
                </c:pt>
                <c:pt idx="163" formatCode="0">
                  <c:v>14.212592917979883</c:v>
                </c:pt>
                <c:pt idx="164" formatCode="0">
                  <c:v>14.053740794636255</c:v>
                </c:pt>
                <c:pt idx="165" formatCode="0">
                  <c:v>13.894888671292627</c:v>
                </c:pt>
                <c:pt idx="166" formatCode="0">
                  <c:v>13.745380790498624</c:v>
                </c:pt>
                <c:pt idx="167" formatCode="0">
                  <c:v>13.5958729097046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14A-45E8-87A1-7BD2345ADB46}"/>
            </c:ext>
          </c:extLst>
        </c:ser>
        <c:ser>
          <c:idx val="5"/>
          <c:order val="4"/>
          <c:tx>
            <c:strRef>
              <c:f>Sheet1!$G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G$2:$G$169</c:f>
              <c:numCache>
                <c:formatCode>General</c:formatCode>
                <c:ptCount val="168"/>
                <c:pt idx="119" formatCode="0">
                  <c:v>28.462562806158267</c:v>
                </c:pt>
                <c:pt idx="120" formatCode="0">
                  <c:v>27.331909457653623</c:v>
                </c:pt>
                <c:pt idx="121" formatCode="0">
                  <c:v>26.67781247917986</c:v>
                </c:pt>
                <c:pt idx="122" formatCode="0">
                  <c:v>26.332075504843729</c:v>
                </c:pt>
                <c:pt idx="123" formatCode="0">
                  <c:v>26.173223381500097</c:v>
                </c:pt>
                <c:pt idx="124" formatCode="0">
                  <c:v>26.313387019744479</c:v>
                </c:pt>
                <c:pt idx="125" formatCode="0">
                  <c:v>26.80863187487461</c:v>
                </c:pt>
                <c:pt idx="126" formatCode="0">
                  <c:v>27.686990674539377</c:v>
                </c:pt>
                <c:pt idx="127" formatCode="0">
                  <c:v>28.228956742417637</c:v>
                </c:pt>
                <c:pt idx="128" formatCode="0">
                  <c:v>28.630759172051523</c:v>
                </c:pt>
                <c:pt idx="129" formatCode="0">
                  <c:v>29.069938571883903</c:v>
                </c:pt>
                <c:pt idx="130" formatCode="0">
                  <c:v>29.667970095059914</c:v>
                </c:pt>
                <c:pt idx="131" formatCode="0">
                  <c:v>30.368788286281802</c:v>
                </c:pt>
                <c:pt idx="132" formatCode="0">
                  <c:v>31.097639205152564</c:v>
                </c:pt>
                <c:pt idx="133" formatCode="0">
                  <c:v>31.761080426175951</c:v>
                </c:pt>
                <c:pt idx="134" formatCode="0">
                  <c:v>32.340423464252709</c:v>
                </c:pt>
                <c:pt idx="135" formatCode="0">
                  <c:v>32.947799229978344</c:v>
                </c:pt>
                <c:pt idx="136" formatCode="0">
                  <c:v>33.639273178650612</c:v>
                </c:pt>
                <c:pt idx="137" formatCode="0">
                  <c:v>34.396156825170252</c:v>
                </c:pt>
                <c:pt idx="138" formatCode="0">
                  <c:v>35.134351986590637</c:v>
                </c:pt>
                <c:pt idx="139" formatCode="0">
                  <c:v>35.844514420362152</c:v>
                </c:pt>
                <c:pt idx="140" formatCode="0">
                  <c:v>36.545332611584037</c:v>
                </c:pt>
                <c:pt idx="141" formatCode="0">
                  <c:v>37.255495045355552</c:v>
                </c:pt>
                <c:pt idx="142" formatCode="0">
                  <c:v>38.021722934424815</c:v>
                </c:pt>
                <c:pt idx="143" formatCode="0">
                  <c:v>38.815983551142956</c:v>
                </c:pt>
                <c:pt idx="144" formatCode="0">
                  <c:v>39.610244167861097</c:v>
                </c:pt>
                <c:pt idx="145" formatCode="0">
                  <c:v>40.395160542029608</c:v>
                </c:pt>
                <c:pt idx="146" formatCode="0">
                  <c:v>41.189421158747749</c:v>
                </c:pt>
                <c:pt idx="147" formatCode="0">
                  <c:v>42.011714503114767</c:v>
                </c:pt>
                <c:pt idx="148" formatCode="0">
                  <c:v>42.862040575130649</c:v>
                </c:pt>
                <c:pt idx="149" formatCode="0">
                  <c:v>43.731055132245793</c:v>
                </c:pt>
                <c:pt idx="150" formatCode="0">
                  <c:v>44.590725446811305</c:v>
                </c:pt>
                <c:pt idx="151" formatCode="0">
                  <c:v>45.469084246476079</c:v>
                </c:pt>
                <c:pt idx="152" formatCode="0">
                  <c:v>46.366131531240093</c:v>
                </c:pt>
                <c:pt idx="153" formatCode="0">
                  <c:v>47.281867301103361</c:v>
                </c:pt>
                <c:pt idx="154" formatCode="0">
                  <c:v>48.216291556065876</c:v>
                </c:pt>
                <c:pt idx="155" formatCode="0">
                  <c:v>49.178748538677269</c:v>
                </c:pt>
                <c:pt idx="156" formatCode="0">
                  <c:v>50.141205521288661</c:v>
                </c:pt>
                <c:pt idx="157" formatCode="0">
                  <c:v>51.131695231548932</c:v>
                </c:pt>
                <c:pt idx="158" formatCode="0">
                  <c:v>52.122184941809195</c:v>
                </c:pt>
                <c:pt idx="159" formatCode="0">
                  <c:v>53.140707379718343</c:v>
                </c:pt>
                <c:pt idx="160" formatCode="0">
                  <c:v>54.177918302726731</c:v>
                </c:pt>
                <c:pt idx="161" formatCode="0">
                  <c:v>55.224473468284756</c:v>
                </c:pt>
                <c:pt idx="162" formatCode="0">
                  <c:v>56.289717118942022</c:v>
                </c:pt>
                <c:pt idx="163" formatCode="0">
                  <c:v>57.382993497248172</c:v>
                </c:pt>
                <c:pt idx="164" formatCode="0">
                  <c:v>58.485614118103932</c:v>
                </c:pt>
                <c:pt idx="165" formatCode="0">
                  <c:v>59.616267466608583</c:v>
                </c:pt>
                <c:pt idx="166" formatCode="0">
                  <c:v>60.765609300212482</c:v>
                </c:pt>
                <c:pt idx="167" formatCode="0">
                  <c:v>61.933639618915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31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2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5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H$2:$H$169</c:f>
              <c:numCache>
                <c:formatCode>0</c:formatCode>
                <c:ptCount val="168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  <c:pt idx="126">
                  <c:v>100</c:v>
                </c:pt>
                <c:pt idx="127">
                  <c:v>100</c:v>
                </c:pt>
                <c:pt idx="128">
                  <c:v>100</c:v>
                </c:pt>
                <c:pt idx="129">
                  <c:v>100</c:v>
                </c:pt>
                <c:pt idx="130">
                  <c:v>100</c:v>
                </c:pt>
                <c:pt idx="131">
                  <c:v>100</c:v>
                </c:pt>
                <c:pt idx="132">
                  <c:v>100</c:v>
                </c:pt>
                <c:pt idx="133">
                  <c:v>100</c:v>
                </c:pt>
                <c:pt idx="134">
                  <c:v>100</c:v>
                </c:pt>
                <c:pt idx="135">
                  <c:v>100</c:v>
                </c:pt>
                <c:pt idx="136">
                  <c:v>100</c:v>
                </c:pt>
                <c:pt idx="137">
                  <c:v>100</c:v>
                </c:pt>
                <c:pt idx="138">
                  <c:v>100</c:v>
                </c:pt>
                <c:pt idx="139">
                  <c:v>100</c:v>
                </c:pt>
                <c:pt idx="140">
                  <c:v>100</c:v>
                </c:pt>
                <c:pt idx="141">
                  <c:v>100</c:v>
                </c:pt>
                <c:pt idx="142">
                  <c:v>100</c:v>
                </c:pt>
                <c:pt idx="143">
                  <c:v>100</c:v>
                </c:pt>
                <c:pt idx="144">
                  <c:v>100</c:v>
                </c:pt>
                <c:pt idx="145">
                  <c:v>100</c:v>
                </c:pt>
                <c:pt idx="146">
                  <c:v>100</c:v>
                </c:pt>
                <c:pt idx="147">
                  <c:v>100</c:v>
                </c:pt>
                <c:pt idx="148">
                  <c:v>100</c:v>
                </c:pt>
                <c:pt idx="149">
                  <c:v>100</c:v>
                </c:pt>
                <c:pt idx="150">
                  <c:v>100</c:v>
                </c:pt>
                <c:pt idx="151">
                  <c:v>100</c:v>
                </c:pt>
                <c:pt idx="152">
                  <c:v>100</c:v>
                </c:pt>
                <c:pt idx="153">
                  <c:v>100</c:v>
                </c:pt>
                <c:pt idx="154">
                  <c:v>100</c:v>
                </c:pt>
                <c:pt idx="155">
                  <c:v>100</c:v>
                </c:pt>
                <c:pt idx="156">
                  <c:v>100</c:v>
                </c:pt>
                <c:pt idx="157">
                  <c:v>100</c:v>
                </c:pt>
                <c:pt idx="158">
                  <c:v>100</c:v>
                </c:pt>
                <c:pt idx="159">
                  <c:v>100</c:v>
                </c:pt>
                <c:pt idx="160">
                  <c:v>100</c:v>
                </c:pt>
                <c:pt idx="161">
                  <c:v>100</c:v>
                </c:pt>
                <c:pt idx="162">
                  <c:v>100</c:v>
                </c:pt>
                <c:pt idx="163">
                  <c:v>100</c:v>
                </c:pt>
                <c:pt idx="164">
                  <c:v>100</c:v>
                </c:pt>
                <c:pt idx="165">
                  <c:v>100</c:v>
                </c:pt>
                <c:pt idx="166">
                  <c:v>100</c:v>
                </c:pt>
                <c:pt idx="167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EF5-483F-B422-4E0629062509}"/>
            </c:ext>
          </c:extLst>
        </c:ser>
        <c:ser>
          <c:idx val="7"/>
          <c:order val="6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rgbClr val="C2FFDF"/>
            </a:solidFill>
            <a:ln>
              <a:noFill/>
            </a:ln>
            <a:effectLst/>
          </c:spP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I$2:$I$169</c:f>
              <c:numCache>
                <c:formatCode>0</c:formatCode>
                <c:ptCount val="168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  <c:pt idx="79">
                  <c:v>50</c:v>
                </c:pt>
                <c:pt idx="80">
                  <c:v>50</c:v>
                </c:pt>
                <c:pt idx="81">
                  <c:v>50</c:v>
                </c:pt>
                <c:pt idx="82">
                  <c:v>50</c:v>
                </c:pt>
                <c:pt idx="83">
                  <c:v>50</c:v>
                </c:pt>
                <c:pt idx="84">
                  <c:v>50</c:v>
                </c:pt>
                <c:pt idx="85">
                  <c:v>50</c:v>
                </c:pt>
                <c:pt idx="86">
                  <c:v>50</c:v>
                </c:pt>
                <c:pt idx="87">
                  <c:v>50</c:v>
                </c:pt>
                <c:pt idx="88">
                  <c:v>50</c:v>
                </c:pt>
                <c:pt idx="89">
                  <c:v>50</c:v>
                </c:pt>
                <c:pt idx="90">
                  <c:v>50</c:v>
                </c:pt>
                <c:pt idx="91">
                  <c:v>50</c:v>
                </c:pt>
                <c:pt idx="92">
                  <c:v>50</c:v>
                </c:pt>
                <c:pt idx="93">
                  <c:v>50</c:v>
                </c:pt>
                <c:pt idx="94">
                  <c:v>50</c:v>
                </c:pt>
                <c:pt idx="95">
                  <c:v>50</c:v>
                </c:pt>
                <c:pt idx="96">
                  <c:v>50</c:v>
                </c:pt>
                <c:pt idx="97">
                  <c:v>50</c:v>
                </c:pt>
                <c:pt idx="98">
                  <c:v>50</c:v>
                </c:pt>
                <c:pt idx="99">
                  <c:v>50</c:v>
                </c:pt>
                <c:pt idx="100">
                  <c:v>50</c:v>
                </c:pt>
                <c:pt idx="101">
                  <c:v>50</c:v>
                </c:pt>
                <c:pt idx="102">
                  <c:v>50</c:v>
                </c:pt>
                <c:pt idx="103">
                  <c:v>50</c:v>
                </c:pt>
                <c:pt idx="104">
                  <c:v>50</c:v>
                </c:pt>
                <c:pt idx="105">
                  <c:v>50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  <c:pt idx="110">
                  <c:v>50</c:v>
                </c:pt>
                <c:pt idx="111">
                  <c:v>50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0</c:v>
                </c:pt>
                <c:pt idx="122">
                  <c:v>50</c:v>
                </c:pt>
                <c:pt idx="123">
                  <c:v>50</c:v>
                </c:pt>
                <c:pt idx="124">
                  <c:v>50</c:v>
                </c:pt>
                <c:pt idx="125">
                  <c:v>50</c:v>
                </c:pt>
                <c:pt idx="126">
                  <c:v>50</c:v>
                </c:pt>
                <c:pt idx="127">
                  <c:v>50</c:v>
                </c:pt>
                <c:pt idx="128">
                  <c:v>50</c:v>
                </c:pt>
                <c:pt idx="129">
                  <c:v>50</c:v>
                </c:pt>
                <c:pt idx="130">
                  <c:v>50</c:v>
                </c:pt>
                <c:pt idx="131">
                  <c:v>50</c:v>
                </c:pt>
                <c:pt idx="132">
                  <c:v>50</c:v>
                </c:pt>
                <c:pt idx="133">
                  <c:v>50</c:v>
                </c:pt>
                <c:pt idx="134">
                  <c:v>50</c:v>
                </c:pt>
                <c:pt idx="135">
                  <c:v>50</c:v>
                </c:pt>
                <c:pt idx="136">
                  <c:v>50</c:v>
                </c:pt>
                <c:pt idx="137">
                  <c:v>50</c:v>
                </c:pt>
                <c:pt idx="138">
                  <c:v>50</c:v>
                </c:pt>
                <c:pt idx="139">
                  <c:v>50</c:v>
                </c:pt>
                <c:pt idx="140">
                  <c:v>50</c:v>
                </c:pt>
                <c:pt idx="141">
                  <c:v>50</c:v>
                </c:pt>
                <c:pt idx="142">
                  <c:v>50</c:v>
                </c:pt>
                <c:pt idx="143">
                  <c:v>50</c:v>
                </c:pt>
                <c:pt idx="144">
                  <c:v>50</c:v>
                </c:pt>
                <c:pt idx="145">
                  <c:v>50</c:v>
                </c:pt>
                <c:pt idx="146">
                  <c:v>50</c:v>
                </c:pt>
                <c:pt idx="147">
                  <c:v>50</c:v>
                </c:pt>
                <c:pt idx="148">
                  <c:v>50</c:v>
                </c:pt>
                <c:pt idx="149">
                  <c:v>50</c:v>
                </c:pt>
                <c:pt idx="150">
                  <c:v>50</c:v>
                </c:pt>
                <c:pt idx="151">
                  <c:v>50</c:v>
                </c:pt>
                <c:pt idx="152">
                  <c:v>50</c:v>
                </c:pt>
                <c:pt idx="153">
                  <c:v>50</c:v>
                </c:pt>
                <c:pt idx="154">
                  <c:v>50</c:v>
                </c:pt>
                <c:pt idx="155">
                  <c:v>50</c:v>
                </c:pt>
                <c:pt idx="156">
                  <c:v>50</c:v>
                </c:pt>
                <c:pt idx="157">
                  <c:v>50</c:v>
                </c:pt>
                <c:pt idx="158">
                  <c:v>50</c:v>
                </c:pt>
                <c:pt idx="159">
                  <c:v>50</c:v>
                </c:pt>
                <c:pt idx="160">
                  <c:v>50</c:v>
                </c:pt>
                <c:pt idx="161">
                  <c:v>50</c:v>
                </c:pt>
                <c:pt idx="162">
                  <c:v>50</c:v>
                </c:pt>
                <c:pt idx="163">
                  <c:v>50</c:v>
                </c:pt>
                <c:pt idx="164">
                  <c:v>50</c:v>
                </c:pt>
                <c:pt idx="165">
                  <c:v>50</c:v>
                </c:pt>
                <c:pt idx="166">
                  <c:v>50</c:v>
                </c:pt>
                <c:pt idx="167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EF5-483F-B422-4E06290625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B$2:$B$169</c:f>
              <c:numCache>
                <c:formatCode>0</c:formatCode>
                <c:ptCount val="168"/>
                <c:pt idx="0">
                  <c:v>551.58590510580348</c:v>
                </c:pt>
                <c:pt idx="1">
                  <c:v>544.70064415441345</c:v>
                </c:pt>
                <c:pt idx="2">
                  <c:v>575.49306118701895</c:v>
                </c:pt>
                <c:pt idx="3">
                  <c:v>568.79905748427871</c:v>
                </c:pt>
                <c:pt idx="4">
                  <c:v>573.96300319782119</c:v>
                </c:pt>
                <c:pt idx="5">
                  <c:v>578.17066266811514</c:v>
                </c:pt>
                <c:pt idx="6">
                  <c:v>584.86466637085539</c:v>
                </c:pt>
                <c:pt idx="7">
                  <c:v>605.52044922502557</c:v>
                </c:pt>
                <c:pt idx="8">
                  <c:v>616.9958841440091</c:v>
                </c:pt>
                <c:pt idx="9">
                  <c:v>620.24725737105439</c:v>
                </c:pt>
                <c:pt idx="10">
                  <c:v>647.02327218201572</c:v>
                </c:pt>
                <c:pt idx="11">
                  <c:v>666.72276879293725</c:v>
                </c:pt>
                <c:pt idx="12">
                  <c:v>671.31294276053063</c:v>
                </c:pt>
                <c:pt idx="13">
                  <c:v>689.4823813822544</c:v>
                </c:pt>
                <c:pt idx="14">
                  <c:v>705.35673302018154</c:v>
                </c:pt>
                <c:pt idx="15">
                  <c:v>727.54257386354936</c:v>
                </c:pt>
                <c:pt idx="16">
                  <c:v>741.5043530149793</c:v>
                </c:pt>
                <c:pt idx="17">
                  <c:v>785.30226295576608</c:v>
                </c:pt>
                <c:pt idx="18">
                  <c:v>826.99634316140589</c:v>
                </c:pt>
                <c:pt idx="19">
                  <c:v>829.67394464250197</c:v>
                </c:pt>
                <c:pt idx="20">
                  <c:v>828.33514390195387</c:v>
                </c:pt>
                <c:pt idx="21">
                  <c:v>848.22589776152518</c:v>
                </c:pt>
                <c:pt idx="22">
                  <c:v>903.3079853726457</c:v>
                </c:pt>
                <c:pt idx="23">
                  <c:v>961.83270345946119</c:v>
                </c:pt>
                <c:pt idx="24">
                  <c:v>988.79997551907218</c:v>
                </c:pt>
                <c:pt idx="25">
                  <c:v>998.55409520020805</c:v>
                </c:pt>
                <c:pt idx="26">
                  <c:v>987.26991752987442</c:v>
                </c:pt>
                <c:pt idx="27">
                  <c:v>1003.526783665101</c:v>
                </c:pt>
                <c:pt idx="28">
                  <c:v>1017.8710773138303</c:v>
                </c:pt>
                <c:pt idx="29">
                  <c:v>1018.2535918111297</c:v>
                </c:pt>
                <c:pt idx="30">
                  <c:v>1021.5049650381749</c:v>
                </c:pt>
                <c:pt idx="31">
                  <c:v>1011.9421026056888</c:v>
                </c:pt>
                <c:pt idx="32">
                  <c:v>990.71254800556937</c:v>
                </c:pt>
                <c:pt idx="33">
                  <c:v>1030.3027984760622</c:v>
                </c:pt>
                <c:pt idx="34">
                  <c:v>1007.9257003840445</c:v>
                </c:pt>
                <c:pt idx="35">
                  <c:v>992.81637774071635</c:v>
                </c:pt>
                <c:pt idx="36">
                  <c:v>967.76167816760255</c:v>
                </c:pt>
                <c:pt idx="37">
                  <c:v>925.30256896736387</c:v>
                </c:pt>
                <c:pt idx="38">
                  <c:v>885.13854675092182</c:v>
                </c:pt>
                <c:pt idx="39">
                  <c:v>959.72887372431421</c:v>
                </c:pt>
                <c:pt idx="40">
                  <c:v>923.19873923221678</c:v>
                </c:pt>
                <c:pt idx="41">
                  <c:v>922.05119574031846</c:v>
                </c:pt>
                <c:pt idx="42">
                  <c:v>918.22605076732418</c:v>
                </c:pt>
                <c:pt idx="43">
                  <c:v>899.10032590235176</c:v>
                </c:pt>
                <c:pt idx="44">
                  <c:v>880.54837278332843</c:v>
                </c:pt>
                <c:pt idx="45">
                  <c:v>863.14396315620365</c:v>
                </c:pt>
                <c:pt idx="46">
                  <c:v>759.10001989075386</c:v>
                </c:pt>
                <c:pt idx="47">
                  <c:v>746.6682987285219</c:v>
                </c:pt>
                <c:pt idx="48">
                  <c:v>739.20926603118255</c:v>
                </c:pt>
                <c:pt idx="49">
                  <c:v>693.69004085254824</c:v>
                </c:pt>
                <c:pt idx="50">
                  <c:v>672.07797175512951</c:v>
                </c:pt>
                <c:pt idx="51">
                  <c:v>627.70629006839363</c:v>
                </c:pt>
                <c:pt idx="52">
                  <c:v>614.50953991156268</c:v>
                </c:pt>
                <c:pt idx="53">
                  <c:v>584.09963737625651</c:v>
                </c:pt>
                <c:pt idx="54">
                  <c:v>564.40014076533498</c:v>
                </c:pt>
                <c:pt idx="55">
                  <c:v>547.56950288415931</c:v>
                </c:pt>
                <c:pt idx="56">
                  <c:v>523.27983230564439</c:v>
                </c:pt>
                <c:pt idx="57">
                  <c:v>490.1923282892422</c:v>
                </c:pt>
                <c:pt idx="58">
                  <c:v>479.67317961350739</c:v>
                </c:pt>
                <c:pt idx="59">
                  <c:v>466.28517220802672</c:v>
                </c:pt>
                <c:pt idx="60">
                  <c:v>424.3998347537372</c:v>
                </c:pt>
                <c:pt idx="61">
                  <c:v>424.97360649968635</c:v>
                </c:pt>
                <c:pt idx="62">
                  <c:v>428.79875147268081</c:v>
                </c:pt>
                <c:pt idx="63">
                  <c:v>366.64014566152059</c:v>
                </c:pt>
                <c:pt idx="64">
                  <c:v>345.21933381275153</c:v>
                </c:pt>
                <c:pt idx="65">
                  <c:v>351.72208026684211</c:v>
                </c:pt>
                <c:pt idx="66">
                  <c:v>319.20834799638908</c:v>
                </c:pt>
                <c:pt idx="67">
                  <c:v>338.33407286136145</c:v>
                </c:pt>
                <c:pt idx="68">
                  <c:v>326.28486619642888</c:v>
                </c:pt>
                <c:pt idx="69">
                  <c:v>318.82583349908964</c:v>
                </c:pt>
                <c:pt idx="70">
                  <c:v>343.49801857490399</c:v>
                </c:pt>
                <c:pt idx="71">
                  <c:v>330.49252566672277</c:v>
                </c:pt>
                <c:pt idx="72">
                  <c:v>278.27929678534815</c:v>
                </c:pt>
                <c:pt idx="73">
                  <c:v>259.72734366632494</c:v>
                </c:pt>
                <c:pt idx="74">
                  <c:v>230.4649846229172</c:v>
                </c:pt>
                <c:pt idx="75">
                  <c:v>230.84749912021664</c:v>
                </c:pt>
                <c:pt idx="76">
                  <c:v>230.4649846229172</c:v>
                </c:pt>
                <c:pt idx="77">
                  <c:v>226.06606790397356</c:v>
                </c:pt>
                <c:pt idx="78">
                  <c:v>191.83102039567299</c:v>
                </c:pt>
                <c:pt idx="79">
                  <c:v>190.68347690377465</c:v>
                </c:pt>
                <c:pt idx="80">
                  <c:v>177.10421224964426</c:v>
                </c:pt>
                <c:pt idx="81">
                  <c:v>170.41020854690393</c:v>
                </c:pt>
                <c:pt idx="82">
                  <c:v>161.80363235766634</c:v>
                </c:pt>
                <c:pt idx="83">
                  <c:v>160.08231711981884</c:v>
                </c:pt>
                <c:pt idx="84">
                  <c:v>151.47574093058125</c:v>
                </c:pt>
                <c:pt idx="85">
                  <c:v>140.19156326024756</c:v>
                </c:pt>
                <c:pt idx="86">
                  <c:v>122.59589638447298</c:v>
                </c:pt>
                <c:pt idx="87">
                  <c:v>120.87458114662546</c:v>
                </c:pt>
                <c:pt idx="88">
                  <c:v>110.16417522224091</c:v>
                </c:pt>
                <c:pt idx="89">
                  <c:v>107.86908823844423</c:v>
                </c:pt>
                <c:pt idx="90">
                  <c:v>105.95651575194701</c:v>
                </c:pt>
                <c:pt idx="91">
                  <c:v>103.66142876815032</c:v>
                </c:pt>
                <c:pt idx="92">
                  <c:v>93.333537341065238</c:v>
                </c:pt>
                <c:pt idx="93">
                  <c:v>95.437367076212183</c:v>
                </c:pt>
                <c:pt idx="94">
                  <c:v>87.978334378872958</c:v>
                </c:pt>
                <c:pt idx="95">
                  <c:v>82.814388665330426</c:v>
                </c:pt>
                <c:pt idx="96">
                  <c:v>82.814388665330426</c:v>
                </c:pt>
                <c:pt idx="97">
                  <c:v>82.814388665330426</c:v>
                </c:pt>
                <c:pt idx="98">
                  <c:v>68.661352265250855</c:v>
                </c:pt>
                <c:pt idx="99">
                  <c:v>69.617638508499482</c:v>
                </c:pt>
                <c:pt idx="100">
                  <c:v>61.776091313860796</c:v>
                </c:pt>
                <c:pt idx="101">
                  <c:v>61.011062319261903</c:v>
                </c:pt>
                <c:pt idx="102">
                  <c:v>59.289747081414383</c:v>
                </c:pt>
                <c:pt idx="103">
                  <c:v>55.655859357069637</c:v>
                </c:pt>
                <c:pt idx="104">
                  <c:v>54.508315865171291</c:v>
                </c:pt>
                <c:pt idx="105">
                  <c:v>50.683170892176811</c:v>
                </c:pt>
                <c:pt idx="106">
                  <c:v>47.623054913781232</c:v>
                </c:pt>
                <c:pt idx="107">
                  <c:v>42.267851951588959</c:v>
                </c:pt>
                <c:pt idx="108">
                  <c:v>37.10390623804642</c:v>
                </c:pt>
                <c:pt idx="109">
                  <c:v>33.661275762351394</c:v>
                </c:pt>
                <c:pt idx="110">
                  <c:v>34.235047508300568</c:v>
                </c:pt>
                <c:pt idx="111">
                  <c:v>32.513732270453048</c:v>
                </c:pt>
                <c:pt idx="112">
                  <c:v>28.497330048808852</c:v>
                </c:pt>
                <c:pt idx="113">
                  <c:v>22.950869837966859</c:v>
                </c:pt>
                <c:pt idx="114">
                  <c:v>20.655782854170173</c:v>
                </c:pt>
                <c:pt idx="115">
                  <c:v>19.316982113622107</c:v>
                </c:pt>
                <c:pt idx="116">
                  <c:v>16.256866135226524</c:v>
                </c:pt>
                <c:pt idx="117">
                  <c:v>16.830637881175697</c:v>
                </c:pt>
                <c:pt idx="118">
                  <c:v>17.213152378475144</c:v>
                </c:pt>
                <c:pt idx="119">
                  <c:v>18.360695870373487</c:v>
                </c:pt>
                <c:pt idx="120">
                  <c:v>15.300579891977906</c:v>
                </c:pt>
                <c:pt idx="121">
                  <c:v>16.065608886576801</c:v>
                </c:pt>
                <c:pt idx="122">
                  <c:v>16.830637881175697</c:v>
                </c:pt>
                <c:pt idx="123">
                  <c:v>18.360695870373487</c:v>
                </c:pt>
                <c:pt idx="124">
                  <c:v>17.40440962712487</c:v>
                </c:pt>
                <c:pt idx="125">
                  <c:v>17.213152378475144</c:v>
                </c:pt>
                <c:pt idx="126">
                  <c:v>13.961779151429839</c:v>
                </c:pt>
                <c:pt idx="127">
                  <c:v>14.918065394678459</c:v>
                </c:pt>
                <c:pt idx="128">
                  <c:v>13.579264654130393</c:v>
                </c:pt>
                <c:pt idx="129">
                  <c:v>10.710405924384535</c:v>
                </c:pt>
                <c:pt idx="130">
                  <c:v>8.0328044432884003</c:v>
                </c:pt>
                <c:pt idx="131">
                  <c:v>8.4153189405878486</c:v>
                </c:pt>
                <c:pt idx="132">
                  <c:v>7.841547194638677</c:v>
                </c:pt>
                <c:pt idx="133">
                  <c:v>6.8852609513900571</c:v>
                </c:pt>
                <c:pt idx="134">
                  <c:v>4.9726884648928191</c:v>
                </c:pt>
                <c:pt idx="135">
                  <c:v>4.2076594702939243</c:v>
                </c:pt>
                <c:pt idx="136">
                  <c:v>4.5901739675933717</c:v>
                </c:pt>
                <c:pt idx="137">
                  <c:v>4.9726884648928191</c:v>
                </c:pt>
                <c:pt idx="138">
                  <c:v>4.5901739675933717</c:v>
                </c:pt>
                <c:pt idx="139">
                  <c:v>4.9726884648928191</c:v>
                </c:pt>
                <c:pt idx="140">
                  <c:v>5.1639457135425433</c:v>
                </c:pt>
                <c:pt idx="141">
                  <c:v>4.2076594702939243</c:v>
                </c:pt>
                <c:pt idx="142">
                  <c:v>5.9289747081414381</c:v>
                </c:pt>
                <c:pt idx="143">
                  <c:v>6.1202319567911614</c:v>
                </c:pt>
                <c:pt idx="144">
                  <c:v>6.1202319567911614</c:v>
                </c:pt>
                <c:pt idx="145">
                  <c:v>6.3114892054408864</c:v>
                </c:pt>
                <c:pt idx="146">
                  <c:v>6.12023195679116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C$2:$C$169</c:f>
              <c:numCache>
                <c:formatCode>General</c:formatCode>
                <c:ptCount val="16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14A-45E8-87A1-7BD2345ADB4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75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D$2:$D$169</c:f>
              <c:numCache>
                <c:formatCode>General</c:formatCode>
                <c:ptCount val="168"/>
                <c:pt idx="119">
                  <c:v>19.50823936227183</c:v>
                </c:pt>
                <c:pt idx="120">
                  <c:v>18.169438621723764</c:v>
                </c:pt>
                <c:pt idx="121">
                  <c:v>17.02189512982542</c:v>
                </c:pt>
                <c:pt idx="122">
                  <c:v>16.065608886576801</c:v>
                </c:pt>
                <c:pt idx="123">
                  <c:v>15.109322643328182</c:v>
                </c:pt>
                <c:pt idx="124">
                  <c:v>14.344293648729288</c:v>
                </c:pt>
                <c:pt idx="125">
                  <c:v>13.388007405480668</c:v>
                </c:pt>
                <c:pt idx="126">
                  <c:v>12.622978410881773</c:v>
                </c:pt>
                <c:pt idx="127">
                  <c:v>11.857949416282876</c:v>
                </c:pt>
                <c:pt idx="128">
                  <c:v>11.092920421683981</c:v>
                </c:pt>
                <c:pt idx="129">
                  <c:v>10.519148675734812</c:v>
                </c:pt>
                <c:pt idx="130">
                  <c:v>9.9453769297856383</c:v>
                </c:pt>
                <c:pt idx="131">
                  <c:v>9.3716051838364685</c:v>
                </c:pt>
                <c:pt idx="132">
                  <c:v>8.9890906865370201</c:v>
                </c:pt>
                <c:pt idx="133">
                  <c:v>8.4153189405878486</c:v>
                </c:pt>
                <c:pt idx="134">
                  <c:v>8.0328044432884003</c:v>
                </c:pt>
                <c:pt idx="135">
                  <c:v>7.6502899459889528</c:v>
                </c:pt>
                <c:pt idx="136">
                  <c:v>7.2677754486895045</c:v>
                </c:pt>
                <c:pt idx="137">
                  <c:v>6.8852609513900571</c:v>
                </c:pt>
                <c:pt idx="138">
                  <c:v>6.5027464540906097</c:v>
                </c:pt>
                <c:pt idx="139">
                  <c:v>6.1202319567911614</c:v>
                </c:pt>
                <c:pt idx="140">
                  <c:v>5.9289747081414381</c:v>
                </c:pt>
                <c:pt idx="141">
                  <c:v>5.7377174594917149</c:v>
                </c:pt>
                <c:pt idx="142">
                  <c:v>5.3552029621922674</c:v>
                </c:pt>
                <c:pt idx="143">
                  <c:v>4.9726884648928191</c:v>
                </c:pt>
                <c:pt idx="144">
                  <c:v>4.7814312162430959</c:v>
                </c:pt>
                <c:pt idx="145">
                  <c:v>4.5901739675933717</c:v>
                </c:pt>
                <c:pt idx="146">
                  <c:v>4.3989167189436476</c:v>
                </c:pt>
                <c:pt idx="147">
                  <c:v>4.2076594702939243</c:v>
                </c:pt>
                <c:pt idx="148">
                  <c:v>4.0164022216442001</c:v>
                </c:pt>
                <c:pt idx="149">
                  <c:v>4.0164022216442001</c:v>
                </c:pt>
                <c:pt idx="150">
                  <c:v>3.8251449729944764</c:v>
                </c:pt>
                <c:pt idx="151">
                  <c:v>3.6338877243447523</c:v>
                </c:pt>
                <c:pt idx="152">
                  <c:v>3.4426304756950286</c:v>
                </c:pt>
                <c:pt idx="153">
                  <c:v>3.2513732270453048</c:v>
                </c:pt>
                <c:pt idx="154">
                  <c:v>3.0601159783955807</c:v>
                </c:pt>
                <c:pt idx="155">
                  <c:v>2.8688587297458574</c:v>
                </c:pt>
                <c:pt idx="156">
                  <c:v>2.6776014810961337</c:v>
                </c:pt>
                <c:pt idx="157">
                  <c:v>2.6776014810961337</c:v>
                </c:pt>
                <c:pt idx="158">
                  <c:v>2.6776014810961337</c:v>
                </c:pt>
                <c:pt idx="159">
                  <c:v>2.6776014810961337</c:v>
                </c:pt>
                <c:pt idx="160">
                  <c:v>2.6776014810961337</c:v>
                </c:pt>
                <c:pt idx="161">
                  <c:v>2.6776014810961337</c:v>
                </c:pt>
                <c:pt idx="162">
                  <c:v>2.6776014810961337</c:v>
                </c:pt>
                <c:pt idx="163">
                  <c:v>2.6776014810961337</c:v>
                </c:pt>
                <c:pt idx="164">
                  <c:v>2.6776014810961337</c:v>
                </c:pt>
                <c:pt idx="165">
                  <c:v>2.6776014810961337</c:v>
                </c:pt>
                <c:pt idx="166">
                  <c:v>2.4863442324464096</c:v>
                </c:pt>
                <c:pt idx="167">
                  <c:v>2.29508698379668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14A-45E8-87A1-7BD2345ADB46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0,95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F$2:$F$169</c:f>
              <c:numCache>
                <c:formatCode>General</c:formatCode>
                <c:ptCount val="168"/>
                <c:pt idx="119">
                  <c:v>19.50823936227183</c:v>
                </c:pt>
                <c:pt idx="120">
                  <c:v>18.360695870373487</c:v>
                </c:pt>
                <c:pt idx="121">
                  <c:v>17.40440962712487</c:v>
                </c:pt>
                <c:pt idx="122">
                  <c:v>16.830637881175697</c:v>
                </c:pt>
                <c:pt idx="123">
                  <c:v>16.448123383876251</c:v>
                </c:pt>
                <c:pt idx="124">
                  <c:v>16.065608886576801</c:v>
                </c:pt>
                <c:pt idx="125">
                  <c:v>15.683094389277354</c:v>
                </c:pt>
                <c:pt idx="126">
                  <c:v>15.491837140627629</c:v>
                </c:pt>
                <c:pt idx="127">
                  <c:v>15.300579891977906</c:v>
                </c:pt>
                <c:pt idx="128">
                  <c:v>15.109322643328182</c:v>
                </c:pt>
                <c:pt idx="129">
                  <c:v>14.918065394678459</c:v>
                </c:pt>
                <c:pt idx="130">
                  <c:v>14.535550897379009</c:v>
                </c:pt>
                <c:pt idx="131">
                  <c:v>14.344293648729288</c:v>
                </c:pt>
                <c:pt idx="132">
                  <c:v>14.153036400079563</c:v>
                </c:pt>
                <c:pt idx="133">
                  <c:v>13.961779151429839</c:v>
                </c:pt>
                <c:pt idx="134">
                  <c:v>13.770521902780114</c:v>
                </c:pt>
                <c:pt idx="135">
                  <c:v>13.579264654130393</c:v>
                </c:pt>
                <c:pt idx="136">
                  <c:v>13.388007405480668</c:v>
                </c:pt>
                <c:pt idx="137">
                  <c:v>13.388007405480668</c:v>
                </c:pt>
                <c:pt idx="138">
                  <c:v>13.196750156830943</c:v>
                </c:pt>
                <c:pt idx="139">
                  <c:v>13.005492908181219</c:v>
                </c:pt>
                <c:pt idx="140">
                  <c:v>12.814235659531496</c:v>
                </c:pt>
                <c:pt idx="141">
                  <c:v>12.622978410881773</c:v>
                </c:pt>
                <c:pt idx="142">
                  <c:v>12.431721162232048</c:v>
                </c:pt>
                <c:pt idx="143">
                  <c:v>12.240463913582323</c:v>
                </c:pt>
                <c:pt idx="144">
                  <c:v>12.049206664932601</c:v>
                </c:pt>
                <c:pt idx="145">
                  <c:v>12.049206664932601</c:v>
                </c:pt>
                <c:pt idx="146">
                  <c:v>12.049206664932601</c:v>
                </c:pt>
                <c:pt idx="147">
                  <c:v>11.857949416282876</c:v>
                </c:pt>
                <c:pt idx="148">
                  <c:v>11.666692167633155</c:v>
                </c:pt>
                <c:pt idx="149">
                  <c:v>11.47543491898343</c:v>
                </c:pt>
                <c:pt idx="150">
                  <c:v>11.284177670333706</c:v>
                </c:pt>
                <c:pt idx="151">
                  <c:v>11.092920421683981</c:v>
                </c:pt>
                <c:pt idx="152">
                  <c:v>10.901663173034258</c:v>
                </c:pt>
                <c:pt idx="153">
                  <c:v>10.710405924384535</c:v>
                </c:pt>
                <c:pt idx="154">
                  <c:v>10.710405924384535</c:v>
                </c:pt>
                <c:pt idx="155">
                  <c:v>10.710405924384535</c:v>
                </c:pt>
                <c:pt idx="156">
                  <c:v>10.710405924384535</c:v>
                </c:pt>
                <c:pt idx="157">
                  <c:v>10.519148675734812</c:v>
                </c:pt>
                <c:pt idx="158">
                  <c:v>10.327891427085087</c:v>
                </c:pt>
                <c:pt idx="159">
                  <c:v>10.136634178435363</c:v>
                </c:pt>
                <c:pt idx="160">
                  <c:v>9.9453769297856383</c:v>
                </c:pt>
                <c:pt idx="161">
                  <c:v>9.754119681135915</c:v>
                </c:pt>
                <c:pt idx="162">
                  <c:v>9.5628624324861917</c:v>
                </c:pt>
                <c:pt idx="163">
                  <c:v>9.3716051838364685</c:v>
                </c:pt>
                <c:pt idx="164">
                  <c:v>9.3716051838364685</c:v>
                </c:pt>
                <c:pt idx="165">
                  <c:v>9.3716051838364685</c:v>
                </c:pt>
                <c:pt idx="166">
                  <c:v>9.3716051838364685</c:v>
                </c:pt>
                <c:pt idx="167">
                  <c:v>9.37160518383646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14A-45E8-87A1-7BD2345ADB46}"/>
            </c:ext>
          </c:extLst>
        </c:ser>
        <c:ser>
          <c:idx val="5"/>
          <c:order val="4"/>
          <c:tx>
            <c:strRef>
              <c:f>Sheet1!$G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G$2:$G$169</c:f>
              <c:numCache>
                <c:formatCode>General</c:formatCode>
                <c:ptCount val="168"/>
                <c:pt idx="119">
                  <c:v>19.50823936227183</c:v>
                </c:pt>
                <c:pt idx="120">
                  <c:v>18.743210367672937</c:v>
                </c:pt>
                <c:pt idx="121">
                  <c:v>18.169438621723764</c:v>
                </c:pt>
                <c:pt idx="122">
                  <c:v>17.97818137307404</c:v>
                </c:pt>
                <c:pt idx="123">
                  <c:v>17.97818137307404</c:v>
                </c:pt>
                <c:pt idx="124">
                  <c:v>18.169438621723764</c:v>
                </c:pt>
                <c:pt idx="125">
                  <c:v>18.360695870373487</c:v>
                </c:pt>
                <c:pt idx="126">
                  <c:v>18.934467616322657</c:v>
                </c:pt>
                <c:pt idx="127">
                  <c:v>19.125724864972383</c:v>
                </c:pt>
                <c:pt idx="128">
                  <c:v>19.50823936227183</c:v>
                </c:pt>
                <c:pt idx="129">
                  <c:v>19.890753859571277</c:v>
                </c:pt>
                <c:pt idx="130">
                  <c:v>20.273268356870727</c:v>
                </c:pt>
                <c:pt idx="131">
                  <c:v>20.655782854170173</c:v>
                </c:pt>
                <c:pt idx="132">
                  <c:v>21.229554600119343</c:v>
                </c:pt>
                <c:pt idx="133">
                  <c:v>21.612069097418793</c:v>
                </c:pt>
                <c:pt idx="134">
                  <c:v>22.185840843367963</c:v>
                </c:pt>
                <c:pt idx="135">
                  <c:v>22.568355340667413</c:v>
                </c:pt>
                <c:pt idx="136">
                  <c:v>22.950869837966859</c:v>
                </c:pt>
                <c:pt idx="137">
                  <c:v>23.524641583916029</c:v>
                </c:pt>
                <c:pt idx="138">
                  <c:v>24.098413329865203</c:v>
                </c:pt>
                <c:pt idx="139">
                  <c:v>24.480927827164646</c:v>
                </c:pt>
                <c:pt idx="140">
                  <c:v>25.054699573113819</c:v>
                </c:pt>
                <c:pt idx="141">
                  <c:v>25.437214070413269</c:v>
                </c:pt>
                <c:pt idx="142">
                  <c:v>26.010985816362439</c:v>
                </c:pt>
                <c:pt idx="143">
                  <c:v>26.584757562311612</c:v>
                </c:pt>
                <c:pt idx="144">
                  <c:v>26.967272059611059</c:v>
                </c:pt>
                <c:pt idx="145">
                  <c:v>27.541043805560228</c:v>
                </c:pt>
                <c:pt idx="146">
                  <c:v>28.114815551509402</c:v>
                </c:pt>
                <c:pt idx="147">
                  <c:v>28.688587297458575</c:v>
                </c:pt>
                <c:pt idx="148">
                  <c:v>29.262359043407745</c:v>
                </c:pt>
                <c:pt idx="149">
                  <c:v>29.836130789356918</c:v>
                </c:pt>
                <c:pt idx="150">
                  <c:v>30.409902535306085</c:v>
                </c:pt>
                <c:pt idx="151">
                  <c:v>31.174931529904985</c:v>
                </c:pt>
                <c:pt idx="152">
                  <c:v>31.748703275854158</c:v>
                </c:pt>
                <c:pt idx="153">
                  <c:v>32.322475021803328</c:v>
                </c:pt>
                <c:pt idx="154">
                  <c:v>32.896246767752501</c:v>
                </c:pt>
                <c:pt idx="155">
                  <c:v>33.661275762351394</c:v>
                </c:pt>
                <c:pt idx="156">
                  <c:v>34.235047508300568</c:v>
                </c:pt>
                <c:pt idx="157">
                  <c:v>35.000076502899461</c:v>
                </c:pt>
                <c:pt idx="158">
                  <c:v>35.573848248848634</c:v>
                </c:pt>
                <c:pt idx="159">
                  <c:v>36.338877243447527</c:v>
                </c:pt>
                <c:pt idx="160">
                  <c:v>37.10390623804642</c:v>
                </c:pt>
                <c:pt idx="161">
                  <c:v>37.868935232645313</c:v>
                </c:pt>
                <c:pt idx="162">
                  <c:v>38.442706978594487</c:v>
                </c:pt>
                <c:pt idx="163">
                  <c:v>39.207735973193387</c:v>
                </c:pt>
                <c:pt idx="164">
                  <c:v>39.781507719142553</c:v>
                </c:pt>
                <c:pt idx="165">
                  <c:v>40.546536713741453</c:v>
                </c:pt>
                <c:pt idx="166">
                  <c:v>41.311565708340346</c:v>
                </c:pt>
                <c:pt idx="167">
                  <c:v>42.0765947029392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31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2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B$155:$B$322</c:f>
              <c:numCache>
                <c:formatCode>0</c:formatCode>
                <c:ptCount val="168"/>
                <c:pt idx="0">
                  <c:v>233</c:v>
                </c:pt>
                <c:pt idx="1">
                  <c:v>379</c:v>
                </c:pt>
                <c:pt idx="2">
                  <c:v>238</c:v>
                </c:pt>
                <c:pt idx="3">
                  <c:v>237</c:v>
                </c:pt>
                <c:pt idx="4">
                  <c:v>308</c:v>
                </c:pt>
                <c:pt idx="5">
                  <c:v>155</c:v>
                </c:pt>
                <c:pt idx="6">
                  <c:v>47</c:v>
                </c:pt>
                <c:pt idx="7">
                  <c:v>310</c:v>
                </c:pt>
                <c:pt idx="8">
                  <c:v>366</c:v>
                </c:pt>
                <c:pt idx="9">
                  <c:v>318</c:v>
                </c:pt>
                <c:pt idx="10">
                  <c:v>251</c:v>
                </c:pt>
                <c:pt idx="11">
                  <c:v>292</c:v>
                </c:pt>
                <c:pt idx="12">
                  <c:v>157</c:v>
                </c:pt>
                <c:pt idx="13">
                  <c:v>78</c:v>
                </c:pt>
                <c:pt idx="14">
                  <c:v>252</c:v>
                </c:pt>
                <c:pt idx="15">
                  <c:v>386</c:v>
                </c:pt>
                <c:pt idx="16">
                  <c:v>284</c:v>
                </c:pt>
                <c:pt idx="17">
                  <c:v>430</c:v>
                </c:pt>
                <c:pt idx="18">
                  <c:v>385</c:v>
                </c:pt>
                <c:pt idx="19">
                  <c:v>178</c:v>
                </c:pt>
                <c:pt idx="20">
                  <c:v>101</c:v>
                </c:pt>
                <c:pt idx="21">
                  <c:v>302</c:v>
                </c:pt>
                <c:pt idx="22">
                  <c:v>540</c:v>
                </c:pt>
                <c:pt idx="23">
                  <c:v>489</c:v>
                </c:pt>
                <c:pt idx="24">
                  <c:v>527</c:v>
                </c:pt>
                <c:pt idx="25">
                  <c:v>549</c:v>
                </c:pt>
                <c:pt idx="26">
                  <c:v>291</c:v>
                </c:pt>
                <c:pt idx="27">
                  <c:v>61</c:v>
                </c:pt>
                <c:pt idx="28">
                  <c:v>402</c:v>
                </c:pt>
                <c:pt idx="29">
                  <c:v>637</c:v>
                </c:pt>
                <c:pt idx="30">
                  <c:v>612</c:v>
                </c:pt>
                <c:pt idx="31">
                  <c:v>620</c:v>
                </c:pt>
                <c:pt idx="32">
                  <c:v>451</c:v>
                </c:pt>
                <c:pt idx="33">
                  <c:v>482</c:v>
                </c:pt>
                <c:pt idx="34">
                  <c:v>210</c:v>
                </c:pt>
                <c:pt idx="35">
                  <c:v>415</c:v>
                </c:pt>
                <c:pt idx="36">
                  <c:v>614</c:v>
                </c:pt>
                <c:pt idx="37">
                  <c:v>493</c:v>
                </c:pt>
                <c:pt idx="38">
                  <c:v>656</c:v>
                </c:pt>
                <c:pt idx="39">
                  <c:v>687</c:v>
                </c:pt>
                <c:pt idx="40">
                  <c:v>422</c:v>
                </c:pt>
                <c:pt idx="41">
                  <c:v>129</c:v>
                </c:pt>
                <c:pt idx="42">
                  <c:v>433</c:v>
                </c:pt>
                <c:pt idx="43">
                  <c:v>691</c:v>
                </c:pt>
                <c:pt idx="44">
                  <c:v>571</c:v>
                </c:pt>
                <c:pt idx="45">
                  <c:v>543</c:v>
                </c:pt>
                <c:pt idx="46">
                  <c:v>539</c:v>
                </c:pt>
                <c:pt idx="47">
                  <c:v>376</c:v>
                </c:pt>
                <c:pt idx="48">
                  <c:v>72</c:v>
                </c:pt>
                <c:pt idx="49">
                  <c:v>344</c:v>
                </c:pt>
                <c:pt idx="50">
                  <c:v>572</c:v>
                </c:pt>
                <c:pt idx="51">
                  <c:v>497</c:v>
                </c:pt>
                <c:pt idx="52">
                  <c:v>454</c:v>
                </c:pt>
                <c:pt idx="53">
                  <c:v>550</c:v>
                </c:pt>
                <c:pt idx="54">
                  <c:v>296</c:v>
                </c:pt>
                <c:pt idx="55">
                  <c:v>63</c:v>
                </c:pt>
                <c:pt idx="56">
                  <c:v>247</c:v>
                </c:pt>
                <c:pt idx="57">
                  <c:v>456</c:v>
                </c:pt>
                <c:pt idx="58">
                  <c:v>498</c:v>
                </c:pt>
                <c:pt idx="59">
                  <c:v>411</c:v>
                </c:pt>
                <c:pt idx="60">
                  <c:v>281</c:v>
                </c:pt>
                <c:pt idx="61">
                  <c:v>177</c:v>
                </c:pt>
                <c:pt idx="62">
                  <c:v>111</c:v>
                </c:pt>
                <c:pt idx="63">
                  <c:v>114</c:v>
                </c:pt>
                <c:pt idx="64">
                  <c:v>261</c:v>
                </c:pt>
                <c:pt idx="65">
                  <c:v>458</c:v>
                </c:pt>
                <c:pt idx="66">
                  <c:v>305</c:v>
                </c:pt>
                <c:pt idx="67">
                  <c:v>379</c:v>
                </c:pt>
                <c:pt idx="68">
                  <c:v>229</c:v>
                </c:pt>
                <c:pt idx="69">
                  <c:v>40</c:v>
                </c:pt>
                <c:pt idx="70">
                  <c:v>192</c:v>
                </c:pt>
                <c:pt idx="71">
                  <c:v>338</c:v>
                </c:pt>
                <c:pt idx="72">
                  <c:v>277</c:v>
                </c:pt>
                <c:pt idx="73">
                  <c:v>239</c:v>
                </c:pt>
                <c:pt idx="74">
                  <c:v>213</c:v>
                </c:pt>
                <c:pt idx="75">
                  <c:v>94</c:v>
                </c:pt>
                <c:pt idx="76">
                  <c:v>37</c:v>
                </c:pt>
                <c:pt idx="77">
                  <c:v>188</c:v>
                </c:pt>
                <c:pt idx="78">
                  <c:v>249</c:v>
                </c:pt>
                <c:pt idx="79">
                  <c:v>142</c:v>
                </c:pt>
                <c:pt idx="80">
                  <c:v>167</c:v>
                </c:pt>
                <c:pt idx="81">
                  <c:v>180</c:v>
                </c:pt>
                <c:pt idx="82">
                  <c:v>65</c:v>
                </c:pt>
                <c:pt idx="83">
                  <c:v>21</c:v>
                </c:pt>
                <c:pt idx="84">
                  <c:v>166</c:v>
                </c:pt>
                <c:pt idx="85">
                  <c:v>216</c:v>
                </c:pt>
                <c:pt idx="86">
                  <c:v>101</c:v>
                </c:pt>
                <c:pt idx="87">
                  <c:v>217</c:v>
                </c:pt>
                <c:pt idx="88">
                  <c:v>150</c:v>
                </c:pt>
                <c:pt idx="89">
                  <c:v>102</c:v>
                </c:pt>
                <c:pt idx="90">
                  <c:v>17</c:v>
                </c:pt>
                <c:pt idx="91">
                  <c:v>81</c:v>
                </c:pt>
                <c:pt idx="92">
                  <c:v>173</c:v>
                </c:pt>
                <c:pt idx="93">
                  <c:v>155</c:v>
                </c:pt>
                <c:pt idx="94">
                  <c:v>103</c:v>
                </c:pt>
                <c:pt idx="95">
                  <c:v>180</c:v>
                </c:pt>
                <c:pt idx="96">
                  <c:v>41</c:v>
                </c:pt>
                <c:pt idx="97">
                  <c:v>23</c:v>
                </c:pt>
                <c:pt idx="98">
                  <c:v>62</c:v>
                </c:pt>
                <c:pt idx="99">
                  <c:v>121</c:v>
                </c:pt>
                <c:pt idx="100">
                  <c:v>80</c:v>
                </c:pt>
                <c:pt idx="101">
                  <c:v>79</c:v>
                </c:pt>
                <c:pt idx="102">
                  <c:v>74</c:v>
                </c:pt>
                <c:pt idx="103">
                  <c:v>42</c:v>
                </c:pt>
                <c:pt idx="104">
                  <c:v>4</c:v>
                </c:pt>
                <c:pt idx="105">
                  <c:v>47</c:v>
                </c:pt>
                <c:pt idx="106">
                  <c:v>59</c:v>
                </c:pt>
                <c:pt idx="107">
                  <c:v>47</c:v>
                </c:pt>
                <c:pt idx="108">
                  <c:v>44</c:v>
                </c:pt>
                <c:pt idx="109">
                  <c:v>44</c:v>
                </c:pt>
                <c:pt idx="110">
                  <c:v>11</c:v>
                </c:pt>
                <c:pt idx="111">
                  <c:v>5</c:v>
                </c:pt>
                <c:pt idx="112">
                  <c:v>28</c:v>
                </c:pt>
                <c:pt idx="113">
                  <c:v>14</c:v>
                </c:pt>
                <c:pt idx="114">
                  <c:v>48</c:v>
                </c:pt>
                <c:pt idx="115">
                  <c:v>33</c:v>
                </c:pt>
                <c:pt idx="116">
                  <c:v>27</c:v>
                </c:pt>
                <c:pt idx="117">
                  <c:v>5</c:v>
                </c:pt>
                <c:pt idx="118">
                  <c:v>3</c:v>
                </c:pt>
                <c:pt idx="119">
                  <c:v>22</c:v>
                </c:pt>
                <c:pt idx="120">
                  <c:v>14</c:v>
                </c:pt>
                <c:pt idx="121">
                  <c:v>11</c:v>
                </c:pt>
                <c:pt idx="122">
                  <c:v>13</c:v>
                </c:pt>
                <c:pt idx="123">
                  <c:v>15</c:v>
                </c:pt>
                <c:pt idx="124">
                  <c:v>2</c:v>
                </c:pt>
                <c:pt idx="125">
                  <c:v>1</c:v>
                </c:pt>
                <c:pt idx="126">
                  <c:v>17</c:v>
                </c:pt>
                <c:pt idx="127">
                  <c:v>24</c:v>
                </c:pt>
                <c:pt idx="128">
                  <c:v>8</c:v>
                </c:pt>
                <c:pt idx="129">
                  <c:v>14</c:v>
                </c:pt>
                <c:pt idx="130">
                  <c:v>10</c:v>
                </c:pt>
                <c:pt idx="131">
                  <c:v>0</c:v>
                </c:pt>
                <c:pt idx="132">
                  <c:v>0</c:v>
                </c:pt>
                <c:pt idx="133">
                  <c:v>8</c:v>
                </c:pt>
                <c:pt idx="134">
                  <c:v>11</c:v>
                </c:pt>
                <c:pt idx="135">
                  <c:v>6</c:v>
                </c:pt>
                <c:pt idx="136">
                  <c:v>3</c:v>
                </c:pt>
                <c:pt idx="137">
                  <c:v>3</c:v>
                </c:pt>
                <c:pt idx="138">
                  <c:v>7</c:v>
                </c:pt>
                <c:pt idx="139">
                  <c:v>0</c:v>
                </c:pt>
                <c:pt idx="140">
                  <c:v>2</c:v>
                </c:pt>
                <c:pt idx="141">
                  <c:v>5</c:v>
                </c:pt>
                <c:pt idx="142">
                  <c:v>0</c:v>
                </c:pt>
                <c:pt idx="143">
                  <c:v>0</c:v>
                </c:pt>
                <c:pt idx="144">
                  <c:v>3</c:v>
                </c:pt>
                <c:pt idx="145">
                  <c:v>0</c:v>
                </c:pt>
                <c:pt idx="14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C$155:$C$322</c:f>
              <c:numCache>
                <c:formatCode>General</c:formatCode>
                <c:ptCount val="16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14A-45E8-87A1-7BD2345ADB4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70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D$155:$D$322</c:f>
              <c:numCache>
                <c:formatCode>General</c:formatCode>
                <c:ptCount val="168"/>
                <c:pt idx="119">
                  <c:v>18</c:v>
                </c:pt>
                <c:pt idx="120">
                  <c:v>17</c:v>
                </c:pt>
                <c:pt idx="121">
                  <c:v>16</c:v>
                </c:pt>
                <c:pt idx="122">
                  <c:v>15</c:v>
                </c:pt>
                <c:pt idx="123">
                  <c:v>14</c:v>
                </c:pt>
                <c:pt idx="124">
                  <c:v>13</c:v>
                </c:pt>
                <c:pt idx="125">
                  <c:v>13</c:v>
                </c:pt>
                <c:pt idx="126">
                  <c:v>12</c:v>
                </c:pt>
                <c:pt idx="127">
                  <c:v>11</c:v>
                </c:pt>
                <c:pt idx="128">
                  <c:v>11</c:v>
                </c:pt>
                <c:pt idx="129">
                  <c:v>10</c:v>
                </c:pt>
                <c:pt idx="130">
                  <c:v>10</c:v>
                </c:pt>
                <c:pt idx="131">
                  <c:v>9</c:v>
                </c:pt>
                <c:pt idx="132">
                  <c:v>9</c:v>
                </c:pt>
                <c:pt idx="133">
                  <c:v>8</c:v>
                </c:pt>
                <c:pt idx="134">
                  <c:v>8</c:v>
                </c:pt>
                <c:pt idx="135">
                  <c:v>7</c:v>
                </c:pt>
                <c:pt idx="136">
                  <c:v>7</c:v>
                </c:pt>
                <c:pt idx="137">
                  <c:v>7</c:v>
                </c:pt>
                <c:pt idx="138">
                  <c:v>6</c:v>
                </c:pt>
                <c:pt idx="139">
                  <c:v>6</c:v>
                </c:pt>
                <c:pt idx="140">
                  <c:v>6</c:v>
                </c:pt>
                <c:pt idx="141">
                  <c:v>6</c:v>
                </c:pt>
                <c:pt idx="142">
                  <c:v>5</c:v>
                </c:pt>
                <c:pt idx="143">
                  <c:v>5</c:v>
                </c:pt>
                <c:pt idx="144">
                  <c:v>5</c:v>
                </c:pt>
                <c:pt idx="145">
                  <c:v>5</c:v>
                </c:pt>
                <c:pt idx="146">
                  <c:v>4</c:v>
                </c:pt>
                <c:pt idx="147">
                  <c:v>4</c:v>
                </c:pt>
                <c:pt idx="148">
                  <c:v>4</c:v>
                </c:pt>
                <c:pt idx="149">
                  <c:v>4</c:v>
                </c:pt>
                <c:pt idx="150">
                  <c:v>4</c:v>
                </c:pt>
                <c:pt idx="151">
                  <c:v>4</c:v>
                </c:pt>
                <c:pt idx="152">
                  <c:v>4</c:v>
                </c:pt>
                <c:pt idx="153">
                  <c:v>3</c:v>
                </c:pt>
                <c:pt idx="154">
                  <c:v>3</c:v>
                </c:pt>
                <c:pt idx="155">
                  <c:v>3</c:v>
                </c:pt>
                <c:pt idx="156">
                  <c:v>3</c:v>
                </c:pt>
                <c:pt idx="157">
                  <c:v>3</c:v>
                </c:pt>
                <c:pt idx="158">
                  <c:v>3</c:v>
                </c:pt>
                <c:pt idx="159">
                  <c:v>3</c:v>
                </c:pt>
                <c:pt idx="160">
                  <c:v>3</c:v>
                </c:pt>
                <c:pt idx="161">
                  <c:v>3</c:v>
                </c:pt>
                <c:pt idx="162">
                  <c:v>3</c:v>
                </c:pt>
                <c:pt idx="163">
                  <c:v>3</c:v>
                </c:pt>
                <c:pt idx="164">
                  <c:v>2</c:v>
                </c:pt>
                <c:pt idx="165">
                  <c:v>2</c:v>
                </c:pt>
                <c:pt idx="166">
                  <c:v>2</c:v>
                </c:pt>
                <c:pt idx="167">
                  <c:v>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14A-45E8-87A1-7BD2345ADB46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0,90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F$155:$F$322</c:f>
              <c:numCache>
                <c:formatCode>General</c:formatCode>
                <c:ptCount val="168"/>
                <c:pt idx="119">
                  <c:v>18</c:v>
                </c:pt>
                <c:pt idx="120">
                  <c:v>19</c:v>
                </c:pt>
                <c:pt idx="121">
                  <c:v>19</c:v>
                </c:pt>
                <c:pt idx="122">
                  <c:v>18</c:v>
                </c:pt>
                <c:pt idx="123">
                  <c:v>18</c:v>
                </c:pt>
                <c:pt idx="124">
                  <c:v>17</c:v>
                </c:pt>
                <c:pt idx="125">
                  <c:v>17</c:v>
                </c:pt>
                <c:pt idx="126">
                  <c:v>17</c:v>
                </c:pt>
                <c:pt idx="127">
                  <c:v>17</c:v>
                </c:pt>
                <c:pt idx="128">
                  <c:v>17</c:v>
                </c:pt>
                <c:pt idx="129">
                  <c:v>16</c:v>
                </c:pt>
                <c:pt idx="130">
                  <c:v>16</c:v>
                </c:pt>
                <c:pt idx="131">
                  <c:v>16</c:v>
                </c:pt>
                <c:pt idx="132">
                  <c:v>16</c:v>
                </c:pt>
                <c:pt idx="133">
                  <c:v>16</c:v>
                </c:pt>
                <c:pt idx="134">
                  <c:v>15</c:v>
                </c:pt>
                <c:pt idx="135">
                  <c:v>15</c:v>
                </c:pt>
                <c:pt idx="136">
                  <c:v>15</c:v>
                </c:pt>
                <c:pt idx="137">
                  <c:v>15</c:v>
                </c:pt>
                <c:pt idx="138">
                  <c:v>14</c:v>
                </c:pt>
                <c:pt idx="139">
                  <c:v>14</c:v>
                </c:pt>
                <c:pt idx="140">
                  <c:v>14</c:v>
                </c:pt>
                <c:pt idx="141">
                  <c:v>14</c:v>
                </c:pt>
                <c:pt idx="142">
                  <c:v>14</c:v>
                </c:pt>
                <c:pt idx="143">
                  <c:v>14</c:v>
                </c:pt>
                <c:pt idx="144">
                  <c:v>13</c:v>
                </c:pt>
                <c:pt idx="145">
                  <c:v>13</c:v>
                </c:pt>
                <c:pt idx="146">
                  <c:v>13</c:v>
                </c:pt>
                <c:pt idx="147">
                  <c:v>13</c:v>
                </c:pt>
                <c:pt idx="148">
                  <c:v>13</c:v>
                </c:pt>
                <c:pt idx="149">
                  <c:v>13</c:v>
                </c:pt>
                <c:pt idx="150">
                  <c:v>12</c:v>
                </c:pt>
                <c:pt idx="151">
                  <c:v>12</c:v>
                </c:pt>
                <c:pt idx="152">
                  <c:v>12</c:v>
                </c:pt>
                <c:pt idx="153">
                  <c:v>12</c:v>
                </c:pt>
                <c:pt idx="154">
                  <c:v>12</c:v>
                </c:pt>
                <c:pt idx="155">
                  <c:v>12</c:v>
                </c:pt>
                <c:pt idx="156">
                  <c:v>12</c:v>
                </c:pt>
                <c:pt idx="157">
                  <c:v>11</c:v>
                </c:pt>
                <c:pt idx="158">
                  <c:v>11</c:v>
                </c:pt>
                <c:pt idx="159">
                  <c:v>11</c:v>
                </c:pt>
                <c:pt idx="160">
                  <c:v>11</c:v>
                </c:pt>
                <c:pt idx="161">
                  <c:v>11</c:v>
                </c:pt>
                <c:pt idx="162">
                  <c:v>11</c:v>
                </c:pt>
                <c:pt idx="163">
                  <c:v>11</c:v>
                </c:pt>
                <c:pt idx="164">
                  <c:v>11</c:v>
                </c:pt>
                <c:pt idx="165">
                  <c:v>10</c:v>
                </c:pt>
                <c:pt idx="166">
                  <c:v>10</c:v>
                </c:pt>
                <c:pt idx="167">
                  <c:v>1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14A-45E8-87A1-7BD2345ADB46}"/>
            </c:ext>
          </c:extLst>
        </c:ser>
        <c:ser>
          <c:idx val="5"/>
          <c:order val="4"/>
          <c:tx>
            <c:strRef>
              <c:f>Sheet1!$G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G$155:$G$322</c:f>
              <c:numCache>
                <c:formatCode>General</c:formatCode>
                <c:ptCount val="168"/>
                <c:pt idx="119">
                  <c:v>18</c:v>
                </c:pt>
                <c:pt idx="120">
                  <c:v>21</c:v>
                </c:pt>
                <c:pt idx="121">
                  <c:v>22</c:v>
                </c:pt>
                <c:pt idx="122">
                  <c:v>22</c:v>
                </c:pt>
                <c:pt idx="123">
                  <c:v>21</c:v>
                </c:pt>
                <c:pt idx="124">
                  <c:v>21</c:v>
                </c:pt>
                <c:pt idx="125">
                  <c:v>22</c:v>
                </c:pt>
                <c:pt idx="126">
                  <c:v>23</c:v>
                </c:pt>
                <c:pt idx="127">
                  <c:v>24</c:v>
                </c:pt>
                <c:pt idx="128">
                  <c:v>24</c:v>
                </c:pt>
                <c:pt idx="129">
                  <c:v>24</c:v>
                </c:pt>
                <c:pt idx="130">
                  <c:v>24</c:v>
                </c:pt>
                <c:pt idx="131">
                  <c:v>25</c:v>
                </c:pt>
                <c:pt idx="132">
                  <c:v>26</c:v>
                </c:pt>
                <c:pt idx="133">
                  <c:v>26</c:v>
                </c:pt>
                <c:pt idx="134">
                  <c:v>27</c:v>
                </c:pt>
                <c:pt idx="135">
                  <c:v>27</c:v>
                </c:pt>
                <c:pt idx="136">
                  <c:v>28</c:v>
                </c:pt>
                <c:pt idx="137">
                  <c:v>28</c:v>
                </c:pt>
                <c:pt idx="138">
                  <c:v>29</c:v>
                </c:pt>
                <c:pt idx="139">
                  <c:v>30</c:v>
                </c:pt>
                <c:pt idx="140">
                  <c:v>30</c:v>
                </c:pt>
                <c:pt idx="141">
                  <c:v>31</c:v>
                </c:pt>
                <c:pt idx="142">
                  <c:v>31</c:v>
                </c:pt>
                <c:pt idx="143">
                  <c:v>32</c:v>
                </c:pt>
                <c:pt idx="144">
                  <c:v>33</c:v>
                </c:pt>
                <c:pt idx="145">
                  <c:v>33</c:v>
                </c:pt>
                <c:pt idx="146">
                  <c:v>34</c:v>
                </c:pt>
                <c:pt idx="147">
                  <c:v>35</c:v>
                </c:pt>
                <c:pt idx="148">
                  <c:v>35</c:v>
                </c:pt>
                <c:pt idx="149">
                  <c:v>36</c:v>
                </c:pt>
                <c:pt idx="150">
                  <c:v>37</c:v>
                </c:pt>
                <c:pt idx="151">
                  <c:v>38</c:v>
                </c:pt>
                <c:pt idx="152">
                  <c:v>38</c:v>
                </c:pt>
                <c:pt idx="153">
                  <c:v>39</c:v>
                </c:pt>
                <c:pt idx="154">
                  <c:v>40</c:v>
                </c:pt>
                <c:pt idx="155">
                  <c:v>41</c:v>
                </c:pt>
                <c:pt idx="156">
                  <c:v>41</c:v>
                </c:pt>
                <c:pt idx="157">
                  <c:v>42</c:v>
                </c:pt>
                <c:pt idx="158">
                  <c:v>43</c:v>
                </c:pt>
                <c:pt idx="159">
                  <c:v>44</c:v>
                </c:pt>
                <c:pt idx="160">
                  <c:v>45</c:v>
                </c:pt>
                <c:pt idx="161">
                  <c:v>45</c:v>
                </c:pt>
                <c:pt idx="162">
                  <c:v>46</c:v>
                </c:pt>
                <c:pt idx="163">
                  <c:v>47</c:v>
                </c:pt>
                <c:pt idx="164">
                  <c:v>48</c:v>
                </c:pt>
                <c:pt idx="165">
                  <c:v>49</c:v>
                </c:pt>
                <c:pt idx="166">
                  <c:v>50</c:v>
                </c:pt>
                <c:pt idx="167">
                  <c:v>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31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2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5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H$2:$H$169</c:f>
              <c:numCache>
                <c:formatCode>0</c:formatCode>
                <c:ptCount val="168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  <c:pt idx="126">
                  <c:v>100</c:v>
                </c:pt>
                <c:pt idx="127">
                  <c:v>100</c:v>
                </c:pt>
                <c:pt idx="128">
                  <c:v>100</c:v>
                </c:pt>
                <c:pt idx="129">
                  <c:v>100</c:v>
                </c:pt>
                <c:pt idx="130">
                  <c:v>100</c:v>
                </c:pt>
                <c:pt idx="131">
                  <c:v>100</c:v>
                </c:pt>
                <c:pt idx="132">
                  <c:v>100</c:v>
                </c:pt>
                <c:pt idx="133">
                  <c:v>100</c:v>
                </c:pt>
                <c:pt idx="134">
                  <c:v>100</c:v>
                </c:pt>
                <c:pt idx="135">
                  <c:v>100</c:v>
                </c:pt>
                <c:pt idx="136">
                  <c:v>100</c:v>
                </c:pt>
                <c:pt idx="137">
                  <c:v>100</c:v>
                </c:pt>
                <c:pt idx="138">
                  <c:v>100</c:v>
                </c:pt>
                <c:pt idx="139">
                  <c:v>100</c:v>
                </c:pt>
                <c:pt idx="140">
                  <c:v>100</c:v>
                </c:pt>
                <c:pt idx="141">
                  <c:v>100</c:v>
                </c:pt>
                <c:pt idx="142">
                  <c:v>100</c:v>
                </c:pt>
                <c:pt idx="143">
                  <c:v>100</c:v>
                </c:pt>
                <c:pt idx="144">
                  <c:v>100</c:v>
                </c:pt>
                <c:pt idx="145">
                  <c:v>100</c:v>
                </c:pt>
                <c:pt idx="146">
                  <c:v>100</c:v>
                </c:pt>
                <c:pt idx="147">
                  <c:v>100</c:v>
                </c:pt>
                <c:pt idx="148">
                  <c:v>100</c:v>
                </c:pt>
                <c:pt idx="149">
                  <c:v>100</c:v>
                </c:pt>
                <c:pt idx="150">
                  <c:v>100</c:v>
                </c:pt>
                <c:pt idx="151">
                  <c:v>100</c:v>
                </c:pt>
                <c:pt idx="152">
                  <c:v>100</c:v>
                </c:pt>
                <c:pt idx="153">
                  <c:v>100</c:v>
                </c:pt>
                <c:pt idx="154">
                  <c:v>100</c:v>
                </c:pt>
                <c:pt idx="155">
                  <c:v>100</c:v>
                </c:pt>
                <c:pt idx="156">
                  <c:v>100</c:v>
                </c:pt>
                <c:pt idx="157">
                  <c:v>100</c:v>
                </c:pt>
                <c:pt idx="158">
                  <c:v>100</c:v>
                </c:pt>
                <c:pt idx="159">
                  <c:v>100</c:v>
                </c:pt>
                <c:pt idx="160">
                  <c:v>100</c:v>
                </c:pt>
                <c:pt idx="161">
                  <c:v>100</c:v>
                </c:pt>
                <c:pt idx="162">
                  <c:v>100</c:v>
                </c:pt>
                <c:pt idx="163">
                  <c:v>100</c:v>
                </c:pt>
                <c:pt idx="164">
                  <c:v>100</c:v>
                </c:pt>
                <c:pt idx="165">
                  <c:v>100</c:v>
                </c:pt>
                <c:pt idx="166">
                  <c:v>100</c:v>
                </c:pt>
                <c:pt idx="167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EF5-483F-B422-4E0629062509}"/>
            </c:ext>
          </c:extLst>
        </c:ser>
        <c:ser>
          <c:idx val="7"/>
          <c:order val="6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rgbClr val="C2FFDF"/>
            </a:solidFill>
            <a:ln>
              <a:noFill/>
            </a:ln>
            <a:effectLst/>
          </c:spP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I$2:$I$169</c:f>
              <c:numCache>
                <c:formatCode>0</c:formatCode>
                <c:ptCount val="168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  <c:pt idx="79">
                  <c:v>50</c:v>
                </c:pt>
                <c:pt idx="80">
                  <c:v>50</c:v>
                </c:pt>
                <c:pt idx="81">
                  <c:v>50</c:v>
                </c:pt>
                <c:pt idx="82">
                  <c:v>50</c:v>
                </c:pt>
                <c:pt idx="83">
                  <c:v>50</c:v>
                </c:pt>
                <c:pt idx="84">
                  <c:v>50</c:v>
                </c:pt>
                <c:pt idx="85">
                  <c:v>50</c:v>
                </c:pt>
                <c:pt idx="86">
                  <c:v>50</c:v>
                </c:pt>
                <c:pt idx="87">
                  <c:v>50</c:v>
                </c:pt>
                <c:pt idx="88">
                  <c:v>50</c:v>
                </c:pt>
                <c:pt idx="89">
                  <c:v>50</c:v>
                </c:pt>
                <c:pt idx="90">
                  <c:v>50</c:v>
                </c:pt>
                <c:pt idx="91">
                  <c:v>50</c:v>
                </c:pt>
                <c:pt idx="92">
                  <c:v>50</c:v>
                </c:pt>
                <c:pt idx="93">
                  <c:v>50</c:v>
                </c:pt>
                <c:pt idx="94">
                  <c:v>50</c:v>
                </c:pt>
                <c:pt idx="95">
                  <c:v>50</c:v>
                </c:pt>
                <c:pt idx="96">
                  <c:v>50</c:v>
                </c:pt>
                <c:pt idx="97">
                  <c:v>50</c:v>
                </c:pt>
                <c:pt idx="98">
                  <c:v>50</c:v>
                </c:pt>
                <c:pt idx="99">
                  <c:v>50</c:v>
                </c:pt>
                <c:pt idx="100">
                  <c:v>50</c:v>
                </c:pt>
                <c:pt idx="101">
                  <c:v>50</c:v>
                </c:pt>
                <c:pt idx="102">
                  <c:v>50</c:v>
                </c:pt>
                <c:pt idx="103">
                  <c:v>50</c:v>
                </c:pt>
                <c:pt idx="104">
                  <c:v>50</c:v>
                </c:pt>
                <c:pt idx="105">
                  <c:v>50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  <c:pt idx="110">
                  <c:v>50</c:v>
                </c:pt>
                <c:pt idx="111">
                  <c:v>50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0</c:v>
                </c:pt>
                <c:pt idx="122">
                  <c:v>50</c:v>
                </c:pt>
                <c:pt idx="123">
                  <c:v>50</c:v>
                </c:pt>
                <c:pt idx="124">
                  <c:v>50</c:v>
                </c:pt>
                <c:pt idx="125">
                  <c:v>50</c:v>
                </c:pt>
                <c:pt idx="126">
                  <c:v>50</c:v>
                </c:pt>
                <c:pt idx="127">
                  <c:v>50</c:v>
                </c:pt>
                <c:pt idx="128">
                  <c:v>50</c:v>
                </c:pt>
                <c:pt idx="129">
                  <c:v>50</c:v>
                </c:pt>
                <c:pt idx="130">
                  <c:v>50</c:v>
                </c:pt>
                <c:pt idx="131">
                  <c:v>50</c:v>
                </c:pt>
                <c:pt idx="132">
                  <c:v>50</c:v>
                </c:pt>
                <c:pt idx="133">
                  <c:v>50</c:v>
                </c:pt>
                <c:pt idx="134">
                  <c:v>50</c:v>
                </c:pt>
                <c:pt idx="135">
                  <c:v>50</c:v>
                </c:pt>
                <c:pt idx="136">
                  <c:v>50</c:v>
                </c:pt>
                <c:pt idx="137">
                  <c:v>50</c:v>
                </c:pt>
                <c:pt idx="138">
                  <c:v>50</c:v>
                </c:pt>
                <c:pt idx="139">
                  <c:v>50</c:v>
                </c:pt>
                <c:pt idx="140">
                  <c:v>50</c:v>
                </c:pt>
                <c:pt idx="141">
                  <c:v>50</c:v>
                </c:pt>
                <c:pt idx="142">
                  <c:v>50</c:v>
                </c:pt>
                <c:pt idx="143">
                  <c:v>50</c:v>
                </c:pt>
                <c:pt idx="144">
                  <c:v>50</c:v>
                </c:pt>
                <c:pt idx="145">
                  <c:v>50</c:v>
                </c:pt>
                <c:pt idx="146">
                  <c:v>50</c:v>
                </c:pt>
                <c:pt idx="147">
                  <c:v>50</c:v>
                </c:pt>
                <c:pt idx="148">
                  <c:v>50</c:v>
                </c:pt>
                <c:pt idx="149">
                  <c:v>50</c:v>
                </c:pt>
                <c:pt idx="150">
                  <c:v>50</c:v>
                </c:pt>
                <c:pt idx="151">
                  <c:v>50</c:v>
                </c:pt>
                <c:pt idx="152">
                  <c:v>50</c:v>
                </c:pt>
                <c:pt idx="153">
                  <c:v>50</c:v>
                </c:pt>
                <c:pt idx="154">
                  <c:v>50</c:v>
                </c:pt>
                <c:pt idx="155">
                  <c:v>50</c:v>
                </c:pt>
                <c:pt idx="156">
                  <c:v>50</c:v>
                </c:pt>
                <c:pt idx="157">
                  <c:v>50</c:v>
                </c:pt>
                <c:pt idx="158">
                  <c:v>50</c:v>
                </c:pt>
                <c:pt idx="159">
                  <c:v>50</c:v>
                </c:pt>
                <c:pt idx="160">
                  <c:v>50</c:v>
                </c:pt>
                <c:pt idx="161">
                  <c:v>50</c:v>
                </c:pt>
                <c:pt idx="162">
                  <c:v>50</c:v>
                </c:pt>
                <c:pt idx="163">
                  <c:v>50</c:v>
                </c:pt>
                <c:pt idx="164">
                  <c:v>50</c:v>
                </c:pt>
                <c:pt idx="165">
                  <c:v>50</c:v>
                </c:pt>
                <c:pt idx="166">
                  <c:v>50</c:v>
                </c:pt>
                <c:pt idx="167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EF5-483F-B422-4E06290625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B$2:$B$169</c:f>
              <c:numCache>
                <c:formatCode>0</c:formatCode>
                <c:ptCount val="168"/>
                <c:pt idx="0">
                  <c:v>308.73417024989584</c:v>
                </c:pt>
                <c:pt idx="1">
                  <c:v>329.36885381211039</c:v>
                </c:pt>
                <c:pt idx="2">
                  <c:v>317.77412685810413</c:v>
                </c:pt>
                <c:pt idx="3">
                  <c:v>311.48546139152444</c:v>
                </c:pt>
                <c:pt idx="4">
                  <c:v>314.23675253315304</c:v>
                </c:pt>
                <c:pt idx="5">
                  <c:v>309.71677422904889</c:v>
                </c:pt>
                <c:pt idx="6">
                  <c:v>313.84371094149179</c:v>
                </c:pt>
                <c:pt idx="7">
                  <c:v>328.97581222044914</c:v>
                </c:pt>
                <c:pt idx="8">
                  <c:v>326.42104187465117</c:v>
                </c:pt>
                <c:pt idx="9">
                  <c:v>342.14270554110038</c:v>
                </c:pt>
                <c:pt idx="10">
                  <c:v>344.89399668272893</c:v>
                </c:pt>
                <c:pt idx="11">
                  <c:v>341.74966394943914</c:v>
                </c:pt>
                <c:pt idx="12">
                  <c:v>342.14270554110038</c:v>
                </c:pt>
                <c:pt idx="13">
                  <c:v>348.23485021184939</c:v>
                </c:pt>
                <c:pt idx="14">
                  <c:v>336.83664405367375</c:v>
                </c:pt>
                <c:pt idx="15">
                  <c:v>340.76705997028603</c:v>
                </c:pt>
                <c:pt idx="16">
                  <c:v>334.08535291204515</c:v>
                </c:pt>
                <c:pt idx="17">
                  <c:v>369.26257536572524</c:v>
                </c:pt>
                <c:pt idx="18">
                  <c:v>387.53900937797238</c:v>
                </c:pt>
                <c:pt idx="19">
                  <c:v>391.66594609041528</c:v>
                </c:pt>
                <c:pt idx="20">
                  <c:v>396.18592439451947</c:v>
                </c:pt>
                <c:pt idx="21">
                  <c:v>406.01196418605014</c:v>
                </c:pt>
                <c:pt idx="22">
                  <c:v>436.27616674396484</c:v>
                </c:pt>
                <c:pt idx="23">
                  <c:v>476.56292988924088</c:v>
                </c:pt>
                <c:pt idx="24">
                  <c:v>495.62544708481056</c:v>
                </c:pt>
                <c:pt idx="25">
                  <c:v>527.85485760103131</c:v>
                </c:pt>
                <c:pt idx="26">
                  <c:v>550.06170752989078</c:v>
                </c:pt>
                <c:pt idx="27">
                  <c:v>542.20087569666623</c:v>
                </c:pt>
                <c:pt idx="28">
                  <c:v>561.85295527972778</c:v>
                </c:pt>
                <c:pt idx="29">
                  <c:v>580.91547247529729</c:v>
                </c:pt>
                <c:pt idx="30">
                  <c:v>605.08753036246299</c:v>
                </c:pt>
                <c:pt idx="31">
                  <c:v>623.36396437471012</c:v>
                </c:pt>
                <c:pt idx="32">
                  <c:v>604.10492638330993</c:v>
                </c:pt>
                <c:pt idx="33">
                  <c:v>641.64039838695726</c:v>
                </c:pt>
                <c:pt idx="34">
                  <c:v>670.9219969657189</c:v>
                </c:pt>
                <c:pt idx="35">
                  <c:v>673.47676731151682</c:v>
                </c:pt>
                <c:pt idx="36">
                  <c:v>668.95678900741279</c:v>
                </c:pt>
                <c:pt idx="37">
                  <c:v>645.57081430356959</c:v>
                </c:pt>
                <c:pt idx="38">
                  <c:v>652.64556295347177</c:v>
                </c:pt>
                <c:pt idx="39">
                  <c:v>699.02447076949682</c:v>
                </c:pt>
                <c:pt idx="40">
                  <c:v>687.23322301965993</c:v>
                </c:pt>
                <c:pt idx="41">
                  <c:v>671.31503855738015</c:v>
                </c:pt>
                <c:pt idx="42">
                  <c:v>674.85241288233124</c:v>
                </c:pt>
                <c:pt idx="43">
                  <c:v>689.98451416128853</c:v>
                </c:pt>
                <c:pt idx="44">
                  <c:v>705.3131362360765</c:v>
                </c:pt>
                <c:pt idx="45">
                  <c:v>683.10628630721703</c:v>
                </c:pt>
                <c:pt idx="46">
                  <c:v>654.02120852428607</c:v>
                </c:pt>
                <c:pt idx="47">
                  <c:v>644.98125191607778</c:v>
                </c:pt>
                <c:pt idx="48">
                  <c:v>633.77956655373271</c:v>
                </c:pt>
                <c:pt idx="49">
                  <c:v>616.28921572480795</c:v>
                </c:pt>
                <c:pt idx="50">
                  <c:v>592.90324102096486</c:v>
                </c:pt>
                <c:pt idx="51">
                  <c:v>578.36070212949937</c:v>
                </c:pt>
                <c:pt idx="52">
                  <c:v>560.87035130057461</c:v>
                </c:pt>
                <c:pt idx="53">
                  <c:v>563.0320800547114</c:v>
                </c:pt>
                <c:pt idx="54">
                  <c:v>547.31041638826218</c:v>
                </c:pt>
                <c:pt idx="55">
                  <c:v>545.54172922578664</c:v>
                </c:pt>
                <c:pt idx="56">
                  <c:v>526.47921203021701</c:v>
                </c:pt>
                <c:pt idx="57">
                  <c:v>503.68279971386568</c:v>
                </c:pt>
                <c:pt idx="58">
                  <c:v>503.87932050969636</c:v>
                </c:pt>
                <c:pt idx="59">
                  <c:v>495.42892628897988</c:v>
                </c:pt>
                <c:pt idx="60">
                  <c:v>442.56483221054458</c:v>
                </c:pt>
                <c:pt idx="61">
                  <c:v>419.17885750670132</c:v>
                </c:pt>
                <c:pt idx="62">
                  <c:v>428.61185570657091</c:v>
                </c:pt>
                <c:pt idx="63">
                  <c:v>402.4745898610991</c:v>
                </c:pt>
                <c:pt idx="64">
                  <c:v>364.15303467412917</c:v>
                </c:pt>
                <c:pt idx="65">
                  <c:v>356.29220284090462</c:v>
                </c:pt>
                <c:pt idx="66">
                  <c:v>335.46099848285945</c:v>
                </c:pt>
                <c:pt idx="67">
                  <c:v>354.7200364742597</c:v>
                </c:pt>
                <c:pt idx="68">
                  <c:v>364.93911785745166</c:v>
                </c:pt>
                <c:pt idx="69">
                  <c:v>350.98614135347799</c:v>
                </c:pt>
                <c:pt idx="70">
                  <c:v>366.31476342826596</c:v>
                </c:pt>
                <c:pt idx="71">
                  <c:v>381.44686470722331</c:v>
                </c:pt>
                <c:pt idx="72">
                  <c:v>345.87660066188204</c:v>
                </c:pt>
                <c:pt idx="73">
                  <c:v>332.90622813706148</c:v>
                </c:pt>
                <c:pt idx="74">
                  <c:v>300.28377602917936</c:v>
                </c:pt>
                <c:pt idx="75">
                  <c:v>273.75346859204637</c:v>
                </c:pt>
                <c:pt idx="76">
                  <c:v>273.16390620455456</c:v>
                </c:pt>
                <c:pt idx="77">
                  <c:v>272.37782302123213</c:v>
                </c:pt>
                <c:pt idx="78">
                  <c:v>254.8874721923074</c:v>
                </c:pt>
                <c:pt idx="79">
                  <c:v>228.35716475517438</c:v>
                </c:pt>
                <c:pt idx="80">
                  <c:v>214.20766745537011</c:v>
                </c:pt>
                <c:pt idx="81">
                  <c:v>207.72248119295986</c:v>
                </c:pt>
                <c:pt idx="82">
                  <c:v>202.02337811387204</c:v>
                </c:pt>
                <c:pt idx="83">
                  <c:v>198.87904538058217</c:v>
                </c:pt>
                <c:pt idx="84">
                  <c:v>194.55558787230865</c:v>
                </c:pt>
                <c:pt idx="85">
                  <c:v>188.07040160989837</c:v>
                </c:pt>
                <c:pt idx="86">
                  <c:v>180.01304898084314</c:v>
                </c:pt>
                <c:pt idx="87">
                  <c:v>189.83908877237388</c:v>
                </c:pt>
                <c:pt idx="88">
                  <c:v>183.94346489745544</c:v>
                </c:pt>
                <c:pt idx="89">
                  <c:v>191.21473434318821</c:v>
                </c:pt>
                <c:pt idx="90">
                  <c:v>190.42865115986572</c:v>
                </c:pt>
                <c:pt idx="91">
                  <c:v>173.72438351426348</c:v>
                </c:pt>
                <c:pt idx="92">
                  <c:v>165.27398929354703</c:v>
                </c:pt>
                <c:pt idx="93">
                  <c:v>175.88611226840024</c:v>
                </c:pt>
                <c:pt idx="94">
                  <c:v>153.48274154371015</c:v>
                </c:pt>
                <c:pt idx="95">
                  <c:v>159.37836541862859</c:v>
                </c:pt>
                <c:pt idx="96">
                  <c:v>147.39059687296111</c:v>
                </c:pt>
                <c:pt idx="97">
                  <c:v>148.56972164794479</c:v>
                </c:pt>
                <c:pt idx="98">
                  <c:v>144.83582652716311</c:v>
                </c:pt>
                <c:pt idx="99">
                  <c:v>134.61674514397112</c:v>
                </c:pt>
                <c:pt idx="100">
                  <c:v>119.87768545667502</c:v>
                </c:pt>
                <c:pt idx="101">
                  <c:v>115.16118635674027</c:v>
                </c:pt>
                <c:pt idx="102">
                  <c:v>94.329981998695104</c:v>
                </c:pt>
                <c:pt idx="103">
                  <c:v>94.526502794525712</c:v>
                </c:pt>
                <c:pt idx="104">
                  <c:v>90.792607673744044</c:v>
                </c:pt>
                <c:pt idx="105">
                  <c:v>87.844795736284809</c:v>
                </c:pt>
                <c:pt idx="106">
                  <c:v>75.660506394786694</c:v>
                </c:pt>
                <c:pt idx="107">
                  <c:v>69.175320132376413</c:v>
                </c:pt>
                <c:pt idx="108">
                  <c:v>62.297092278304888</c:v>
                </c:pt>
                <c:pt idx="109">
                  <c:v>56.401468403386446</c:v>
                </c:pt>
                <c:pt idx="110">
                  <c:v>50.309323732637388</c:v>
                </c:pt>
                <c:pt idx="111">
                  <c:v>50.50584452846801</c:v>
                </c:pt>
                <c:pt idx="112">
                  <c:v>46.771949407686321</c:v>
                </c:pt>
                <c:pt idx="113">
                  <c:v>37.928513595308658</c:v>
                </c:pt>
                <c:pt idx="114">
                  <c:v>38.125034391139273</c:v>
                </c:pt>
                <c:pt idx="115">
                  <c:v>35.963305637002506</c:v>
                </c:pt>
                <c:pt idx="116">
                  <c:v>32.622452107882054</c:v>
                </c:pt>
                <c:pt idx="117">
                  <c:v>31.443327332898367</c:v>
                </c:pt>
                <c:pt idx="118">
                  <c:v>31.05028574123714</c:v>
                </c:pt>
                <c:pt idx="119">
                  <c:v>29.871160966253449</c:v>
                </c:pt>
                <c:pt idx="120">
                  <c:v>29.871160966253449</c:v>
                </c:pt>
                <c:pt idx="121">
                  <c:v>22.599891520520703</c:v>
                </c:pt>
                <c:pt idx="122">
                  <c:v>18.669475603908406</c:v>
                </c:pt>
                <c:pt idx="123">
                  <c:v>16.311226053941027</c:v>
                </c:pt>
                <c:pt idx="124">
                  <c:v>15.721663666449183</c:v>
                </c:pt>
                <c:pt idx="125">
                  <c:v>15.328622074787955</c:v>
                </c:pt>
                <c:pt idx="126">
                  <c:v>14.346018095634879</c:v>
                </c:pt>
                <c:pt idx="127">
                  <c:v>16.311226053941027</c:v>
                </c:pt>
                <c:pt idx="128">
                  <c:v>15.721663666449183</c:v>
                </c:pt>
                <c:pt idx="129">
                  <c:v>15.918184462279799</c:v>
                </c:pt>
                <c:pt idx="130">
                  <c:v>14.935580483126724</c:v>
                </c:pt>
                <c:pt idx="131">
                  <c:v>14.542538891465496</c:v>
                </c:pt>
                <c:pt idx="132">
                  <c:v>14.346018095634879</c:v>
                </c:pt>
                <c:pt idx="133">
                  <c:v>12.577330933159347</c:v>
                </c:pt>
                <c:pt idx="134">
                  <c:v>10.022560587361355</c:v>
                </c:pt>
                <c:pt idx="135">
                  <c:v>9.6295189957001242</c:v>
                </c:pt>
                <c:pt idx="136">
                  <c:v>7.4677902415633621</c:v>
                </c:pt>
                <c:pt idx="137">
                  <c:v>6.0921446707490583</c:v>
                </c:pt>
                <c:pt idx="138">
                  <c:v>7.4677902415633621</c:v>
                </c:pt>
                <c:pt idx="139">
                  <c:v>7.4677902415633621</c:v>
                </c:pt>
                <c:pt idx="140">
                  <c:v>6.2886654665796735</c:v>
                </c:pt>
                <c:pt idx="141">
                  <c:v>5.1095406915959849</c:v>
                </c:pt>
                <c:pt idx="142">
                  <c:v>3.9304159166122958</c:v>
                </c:pt>
                <c:pt idx="143">
                  <c:v>3.3408535291204511</c:v>
                </c:pt>
                <c:pt idx="144">
                  <c:v>3.3408535291204511</c:v>
                </c:pt>
                <c:pt idx="145">
                  <c:v>1.9652079583061479</c:v>
                </c:pt>
                <c:pt idx="146">
                  <c:v>1.96520795830614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C$2:$C$169</c:f>
              <c:numCache>
                <c:formatCode>General</c:formatCode>
                <c:ptCount val="16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14A-45E8-87A1-7BD2345ADB4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75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D$2:$D$169</c:f>
              <c:numCache>
                <c:formatCode>General</c:formatCode>
                <c:ptCount val="168"/>
                <c:pt idx="119">
                  <c:v>30.264202557914675</c:v>
                </c:pt>
                <c:pt idx="120">
                  <c:v>28.298994599608534</c:v>
                </c:pt>
                <c:pt idx="121">
                  <c:v>26.530307437133001</c:v>
                </c:pt>
                <c:pt idx="122">
                  <c:v>24.958141070488075</c:v>
                </c:pt>
                <c:pt idx="123">
                  <c:v>23.385974703843161</c:v>
                </c:pt>
                <c:pt idx="124">
                  <c:v>22.010329133028858</c:v>
                </c:pt>
                <c:pt idx="125">
                  <c:v>20.83120435804517</c:v>
                </c:pt>
                <c:pt idx="126">
                  <c:v>19.652079583061479</c:v>
                </c:pt>
                <c:pt idx="127">
                  <c:v>18.472954808077791</c:v>
                </c:pt>
                <c:pt idx="128">
                  <c:v>17.490350828924715</c:v>
                </c:pt>
                <c:pt idx="129">
                  <c:v>16.507746849771642</c:v>
                </c:pt>
                <c:pt idx="130">
                  <c:v>15.721663666449183</c:v>
                </c:pt>
                <c:pt idx="131">
                  <c:v>14.935580483126724</c:v>
                </c:pt>
                <c:pt idx="132">
                  <c:v>14.149497299804267</c:v>
                </c:pt>
                <c:pt idx="133">
                  <c:v>13.363414116481804</c:v>
                </c:pt>
                <c:pt idx="134">
                  <c:v>12.773851728989962</c:v>
                </c:pt>
                <c:pt idx="135">
                  <c:v>11.987768545667503</c:v>
                </c:pt>
                <c:pt idx="136">
                  <c:v>11.398206158175659</c:v>
                </c:pt>
                <c:pt idx="137">
                  <c:v>10.808643770683814</c:v>
                </c:pt>
                <c:pt idx="138">
                  <c:v>10.21908138319197</c:v>
                </c:pt>
                <c:pt idx="139">
                  <c:v>9.6295189957001242</c:v>
                </c:pt>
                <c:pt idx="140">
                  <c:v>9.2364774040388955</c:v>
                </c:pt>
                <c:pt idx="141">
                  <c:v>8.8434358123776668</c:v>
                </c:pt>
                <c:pt idx="142">
                  <c:v>8.4503942207164364</c:v>
                </c:pt>
                <c:pt idx="143">
                  <c:v>8.057352629055206</c:v>
                </c:pt>
                <c:pt idx="144">
                  <c:v>7.6643110373939773</c:v>
                </c:pt>
                <c:pt idx="145">
                  <c:v>7.4677902415633621</c:v>
                </c:pt>
                <c:pt idx="146">
                  <c:v>7.0747486499021335</c:v>
                </c:pt>
                <c:pt idx="147">
                  <c:v>6.6817070582409022</c:v>
                </c:pt>
                <c:pt idx="148">
                  <c:v>6.2886654665796735</c:v>
                </c:pt>
                <c:pt idx="149">
                  <c:v>6.0921446707490583</c:v>
                </c:pt>
                <c:pt idx="150">
                  <c:v>5.895623874918444</c:v>
                </c:pt>
                <c:pt idx="151">
                  <c:v>5.6991030790878296</c:v>
                </c:pt>
                <c:pt idx="152">
                  <c:v>5.5025822832572144</c:v>
                </c:pt>
                <c:pt idx="153">
                  <c:v>5.3060614874265992</c:v>
                </c:pt>
                <c:pt idx="154">
                  <c:v>5.1095406915959849</c:v>
                </c:pt>
                <c:pt idx="155">
                  <c:v>4.9130198957653697</c:v>
                </c:pt>
                <c:pt idx="156">
                  <c:v>4.7164990999347554</c:v>
                </c:pt>
                <c:pt idx="157">
                  <c:v>4.5199783041041401</c:v>
                </c:pt>
                <c:pt idx="158">
                  <c:v>4.3234575082735258</c:v>
                </c:pt>
                <c:pt idx="159">
                  <c:v>4.1269367124429106</c:v>
                </c:pt>
                <c:pt idx="160">
                  <c:v>4.1269367124429106</c:v>
                </c:pt>
                <c:pt idx="161">
                  <c:v>4.1269367124429106</c:v>
                </c:pt>
                <c:pt idx="162">
                  <c:v>4.1269367124429106</c:v>
                </c:pt>
                <c:pt idx="163">
                  <c:v>4.1269367124429106</c:v>
                </c:pt>
                <c:pt idx="164">
                  <c:v>3.9304159166122958</c:v>
                </c:pt>
                <c:pt idx="165">
                  <c:v>3.7338951207816811</c:v>
                </c:pt>
                <c:pt idx="166">
                  <c:v>3.5373743249510667</c:v>
                </c:pt>
                <c:pt idx="167">
                  <c:v>3.34085352912045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14A-45E8-87A1-7BD2345ADB46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0,95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F$2:$F$169</c:f>
              <c:numCache>
                <c:formatCode>General</c:formatCode>
                <c:ptCount val="168"/>
                <c:pt idx="119">
                  <c:v>30.264202557914675</c:v>
                </c:pt>
                <c:pt idx="120">
                  <c:v>28.692036191269757</c:v>
                </c:pt>
                <c:pt idx="121">
                  <c:v>27.512911416286073</c:v>
                </c:pt>
                <c:pt idx="122">
                  <c:v>26.530307437133001</c:v>
                </c:pt>
                <c:pt idx="123">
                  <c:v>25.744224253810536</c:v>
                </c:pt>
                <c:pt idx="124">
                  <c:v>25.154661866318694</c:v>
                </c:pt>
                <c:pt idx="125">
                  <c:v>24.761620274657467</c:v>
                </c:pt>
                <c:pt idx="126">
                  <c:v>24.565099478826852</c:v>
                </c:pt>
                <c:pt idx="127">
                  <c:v>24.172057887165618</c:v>
                </c:pt>
                <c:pt idx="128">
                  <c:v>23.779016295504391</c:v>
                </c:pt>
                <c:pt idx="129">
                  <c:v>23.385974703843161</c:v>
                </c:pt>
                <c:pt idx="130">
                  <c:v>22.99293311218193</c:v>
                </c:pt>
                <c:pt idx="131">
                  <c:v>22.796412316351319</c:v>
                </c:pt>
                <c:pt idx="132">
                  <c:v>22.599891520520703</c:v>
                </c:pt>
                <c:pt idx="133">
                  <c:v>22.403370724690085</c:v>
                </c:pt>
                <c:pt idx="134">
                  <c:v>22.010329133028858</c:v>
                </c:pt>
                <c:pt idx="135">
                  <c:v>21.617287541367627</c:v>
                </c:pt>
                <c:pt idx="136">
                  <c:v>21.420766745537016</c:v>
                </c:pt>
                <c:pt idx="137">
                  <c:v>21.224245949706397</c:v>
                </c:pt>
                <c:pt idx="138">
                  <c:v>20.83120435804517</c:v>
                </c:pt>
                <c:pt idx="139">
                  <c:v>20.43816276638394</c:v>
                </c:pt>
                <c:pt idx="140">
                  <c:v>20.045121174722709</c:v>
                </c:pt>
                <c:pt idx="141">
                  <c:v>19.848600378892094</c:v>
                </c:pt>
                <c:pt idx="142">
                  <c:v>19.652079583061479</c:v>
                </c:pt>
                <c:pt idx="143">
                  <c:v>19.455558787230864</c:v>
                </c:pt>
                <c:pt idx="144">
                  <c:v>19.062517195569637</c:v>
                </c:pt>
                <c:pt idx="145">
                  <c:v>18.865996399739021</c:v>
                </c:pt>
                <c:pt idx="146">
                  <c:v>18.669475603908406</c:v>
                </c:pt>
                <c:pt idx="147">
                  <c:v>18.472954808077791</c:v>
                </c:pt>
                <c:pt idx="148">
                  <c:v>18.276434012247176</c:v>
                </c:pt>
                <c:pt idx="149">
                  <c:v>18.079913216416561</c:v>
                </c:pt>
                <c:pt idx="150">
                  <c:v>17.686871624755334</c:v>
                </c:pt>
                <c:pt idx="151">
                  <c:v>17.490350828924715</c:v>
                </c:pt>
                <c:pt idx="152">
                  <c:v>17.293830033094103</c:v>
                </c:pt>
                <c:pt idx="153">
                  <c:v>17.097309237263488</c:v>
                </c:pt>
                <c:pt idx="154">
                  <c:v>16.900788441432873</c:v>
                </c:pt>
                <c:pt idx="155">
                  <c:v>16.704267645602258</c:v>
                </c:pt>
                <c:pt idx="156">
                  <c:v>16.507746849771642</c:v>
                </c:pt>
                <c:pt idx="157">
                  <c:v>16.311226053941027</c:v>
                </c:pt>
                <c:pt idx="158">
                  <c:v>16.114705258110412</c:v>
                </c:pt>
                <c:pt idx="159">
                  <c:v>15.918184462279799</c:v>
                </c:pt>
                <c:pt idx="160">
                  <c:v>15.721663666449183</c:v>
                </c:pt>
                <c:pt idx="161">
                  <c:v>15.52514287061857</c:v>
                </c:pt>
                <c:pt idx="162">
                  <c:v>15.328622074787955</c:v>
                </c:pt>
                <c:pt idx="163">
                  <c:v>15.132101278957338</c:v>
                </c:pt>
                <c:pt idx="164">
                  <c:v>15.132101278957338</c:v>
                </c:pt>
                <c:pt idx="165">
                  <c:v>14.935580483126724</c:v>
                </c:pt>
                <c:pt idx="166">
                  <c:v>14.739059687296109</c:v>
                </c:pt>
                <c:pt idx="167">
                  <c:v>14.5425388914654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14A-45E8-87A1-7BD2345ADB46}"/>
            </c:ext>
          </c:extLst>
        </c:ser>
        <c:ser>
          <c:idx val="5"/>
          <c:order val="4"/>
          <c:tx>
            <c:strRef>
              <c:f>Sheet1!$G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G$2:$G$169</c:f>
              <c:numCache>
                <c:formatCode>General</c:formatCode>
                <c:ptCount val="168"/>
                <c:pt idx="119">
                  <c:v>30.264202557914675</c:v>
                </c:pt>
                <c:pt idx="120">
                  <c:v>29.085077782930991</c:v>
                </c:pt>
                <c:pt idx="121">
                  <c:v>28.495515395439142</c:v>
                </c:pt>
                <c:pt idx="122">
                  <c:v>28.298994599608534</c:v>
                </c:pt>
                <c:pt idx="123">
                  <c:v>28.102473803777915</c:v>
                </c:pt>
                <c:pt idx="124">
                  <c:v>28.298994599608534</c:v>
                </c:pt>
                <c:pt idx="125">
                  <c:v>28.888556987100376</c:v>
                </c:pt>
                <c:pt idx="126">
                  <c:v>29.871160966253449</c:v>
                </c:pt>
                <c:pt idx="127">
                  <c:v>30.460723353745291</c:v>
                </c:pt>
                <c:pt idx="128">
                  <c:v>30.853764945406525</c:v>
                </c:pt>
                <c:pt idx="129">
                  <c:v>31.246806537067751</c:v>
                </c:pt>
                <c:pt idx="130">
                  <c:v>31.836368924559597</c:v>
                </c:pt>
                <c:pt idx="131">
                  <c:v>32.622452107882054</c:v>
                </c:pt>
                <c:pt idx="132">
                  <c:v>33.408535291204515</c:v>
                </c:pt>
                <c:pt idx="133">
                  <c:v>33.998097678696361</c:v>
                </c:pt>
                <c:pt idx="134">
                  <c:v>34.587660066188207</c:v>
                </c:pt>
                <c:pt idx="135">
                  <c:v>35.177222453680045</c:v>
                </c:pt>
                <c:pt idx="136">
                  <c:v>35.963305637002506</c:v>
                </c:pt>
                <c:pt idx="137">
                  <c:v>36.749388820324967</c:v>
                </c:pt>
                <c:pt idx="138">
                  <c:v>37.535472003647421</c:v>
                </c:pt>
                <c:pt idx="139">
                  <c:v>38.321555186969888</c:v>
                </c:pt>
                <c:pt idx="140">
                  <c:v>39.107638370292349</c:v>
                </c:pt>
                <c:pt idx="141">
                  <c:v>39.893721553614803</c:v>
                </c:pt>
                <c:pt idx="142">
                  <c:v>40.679804736937264</c:v>
                </c:pt>
                <c:pt idx="143">
                  <c:v>41.465887920259725</c:v>
                </c:pt>
                <c:pt idx="144">
                  <c:v>42.448491899412794</c:v>
                </c:pt>
                <c:pt idx="145">
                  <c:v>43.234575082735255</c:v>
                </c:pt>
                <c:pt idx="146">
                  <c:v>44.020658266057715</c:v>
                </c:pt>
                <c:pt idx="147">
                  <c:v>45.003262245210784</c:v>
                </c:pt>
                <c:pt idx="148">
                  <c:v>45.789345428533245</c:v>
                </c:pt>
                <c:pt idx="149">
                  <c:v>46.771949407686321</c:v>
                </c:pt>
                <c:pt idx="150">
                  <c:v>47.754553386839397</c:v>
                </c:pt>
                <c:pt idx="151">
                  <c:v>48.737157365992466</c:v>
                </c:pt>
                <c:pt idx="152">
                  <c:v>49.719761345145542</c:v>
                </c:pt>
                <c:pt idx="153">
                  <c:v>50.702365324298619</c:v>
                </c:pt>
                <c:pt idx="154">
                  <c:v>51.684969303451695</c:v>
                </c:pt>
                <c:pt idx="155">
                  <c:v>52.864094078435379</c:v>
                </c:pt>
                <c:pt idx="156">
                  <c:v>53.846698057588455</c:v>
                </c:pt>
                <c:pt idx="157">
                  <c:v>54.829302036741524</c:v>
                </c:pt>
                <c:pt idx="158">
                  <c:v>55.8119060158946</c:v>
                </c:pt>
                <c:pt idx="159">
                  <c:v>56.991030790878284</c:v>
                </c:pt>
                <c:pt idx="160">
                  <c:v>58.170155565861982</c:v>
                </c:pt>
                <c:pt idx="161">
                  <c:v>59.152759545015059</c:v>
                </c:pt>
                <c:pt idx="162">
                  <c:v>60.135363524168127</c:v>
                </c:pt>
                <c:pt idx="163">
                  <c:v>61.314488299151819</c:v>
                </c:pt>
                <c:pt idx="164">
                  <c:v>62.493613074135503</c:v>
                </c:pt>
                <c:pt idx="165">
                  <c:v>63.672737849119194</c:v>
                </c:pt>
                <c:pt idx="166">
                  <c:v>64.851862624102878</c:v>
                </c:pt>
                <c:pt idx="167">
                  <c:v>66.0309873990865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31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24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B$155:$B$322</c:f>
              <c:numCache>
                <c:formatCode>0</c:formatCode>
                <c:ptCount val="168"/>
                <c:pt idx="0">
                  <c:v>638</c:v>
                </c:pt>
                <c:pt idx="1">
                  <c:v>727</c:v>
                </c:pt>
                <c:pt idx="2">
                  <c:v>856</c:v>
                </c:pt>
                <c:pt idx="3">
                  <c:v>544</c:v>
                </c:pt>
                <c:pt idx="4">
                  <c:v>726</c:v>
                </c:pt>
                <c:pt idx="5">
                  <c:v>380</c:v>
                </c:pt>
                <c:pt idx="6">
                  <c:v>201</c:v>
                </c:pt>
                <c:pt idx="7">
                  <c:v>641</c:v>
                </c:pt>
                <c:pt idx="8">
                  <c:v>909</c:v>
                </c:pt>
                <c:pt idx="9">
                  <c:v>736</c:v>
                </c:pt>
                <c:pt idx="10">
                  <c:v>686</c:v>
                </c:pt>
                <c:pt idx="11">
                  <c:v>878</c:v>
                </c:pt>
                <c:pt idx="12">
                  <c:v>156</c:v>
                </c:pt>
                <c:pt idx="13">
                  <c:v>328</c:v>
                </c:pt>
                <c:pt idx="14">
                  <c:v>662</c:v>
                </c:pt>
                <c:pt idx="15">
                  <c:v>1103</c:v>
                </c:pt>
                <c:pt idx="16">
                  <c:v>782</c:v>
                </c:pt>
                <c:pt idx="17">
                  <c:v>804</c:v>
                </c:pt>
                <c:pt idx="18">
                  <c:v>1061</c:v>
                </c:pt>
                <c:pt idx="19">
                  <c:v>251</c:v>
                </c:pt>
                <c:pt idx="20">
                  <c:v>384</c:v>
                </c:pt>
                <c:pt idx="21">
                  <c:v>1050</c:v>
                </c:pt>
                <c:pt idx="22">
                  <c:v>1240</c:v>
                </c:pt>
                <c:pt idx="23">
                  <c:v>1082</c:v>
                </c:pt>
                <c:pt idx="24">
                  <c:v>1205</c:v>
                </c:pt>
                <c:pt idx="25">
                  <c:v>1102</c:v>
                </c:pt>
                <c:pt idx="26">
                  <c:v>678</c:v>
                </c:pt>
                <c:pt idx="27">
                  <c:v>322</c:v>
                </c:pt>
                <c:pt idx="28">
                  <c:v>1152</c:v>
                </c:pt>
                <c:pt idx="29">
                  <c:v>1451</c:v>
                </c:pt>
                <c:pt idx="30">
                  <c:v>1410</c:v>
                </c:pt>
                <c:pt idx="31">
                  <c:v>1157</c:v>
                </c:pt>
                <c:pt idx="32">
                  <c:v>1380</c:v>
                </c:pt>
                <c:pt idx="33">
                  <c:v>716</c:v>
                </c:pt>
                <c:pt idx="34">
                  <c:v>344</c:v>
                </c:pt>
                <c:pt idx="35">
                  <c:v>1000</c:v>
                </c:pt>
                <c:pt idx="36">
                  <c:v>1519</c:v>
                </c:pt>
                <c:pt idx="37">
                  <c:v>1163</c:v>
                </c:pt>
                <c:pt idx="38">
                  <c:v>886</c:v>
                </c:pt>
                <c:pt idx="39">
                  <c:v>1484</c:v>
                </c:pt>
                <c:pt idx="40">
                  <c:v>750</c:v>
                </c:pt>
                <c:pt idx="41">
                  <c:v>279</c:v>
                </c:pt>
                <c:pt idx="42">
                  <c:v>974</c:v>
                </c:pt>
                <c:pt idx="43">
                  <c:v>1493</c:v>
                </c:pt>
                <c:pt idx="44">
                  <c:v>1143</c:v>
                </c:pt>
                <c:pt idx="45">
                  <c:v>1001</c:v>
                </c:pt>
                <c:pt idx="46">
                  <c:v>1003</c:v>
                </c:pt>
                <c:pt idx="47">
                  <c:v>386</c:v>
                </c:pt>
                <c:pt idx="48">
                  <c:v>221</c:v>
                </c:pt>
                <c:pt idx="49">
                  <c:v>828</c:v>
                </c:pt>
                <c:pt idx="50">
                  <c:v>1118</c:v>
                </c:pt>
                <c:pt idx="51">
                  <c:v>841</c:v>
                </c:pt>
                <c:pt idx="52">
                  <c:v>934</c:v>
                </c:pt>
                <c:pt idx="53">
                  <c:v>684</c:v>
                </c:pt>
                <c:pt idx="54">
                  <c:v>461</c:v>
                </c:pt>
                <c:pt idx="55">
                  <c:v>183</c:v>
                </c:pt>
                <c:pt idx="56">
                  <c:v>775</c:v>
                </c:pt>
                <c:pt idx="57">
                  <c:v>954</c:v>
                </c:pt>
                <c:pt idx="58">
                  <c:v>859</c:v>
                </c:pt>
                <c:pt idx="59">
                  <c:v>721</c:v>
                </c:pt>
                <c:pt idx="60">
                  <c:v>402</c:v>
                </c:pt>
                <c:pt idx="61">
                  <c:v>183</c:v>
                </c:pt>
                <c:pt idx="62">
                  <c:v>160</c:v>
                </c:pt>
                <c:pt idx="63">
                  <c:v>95</c:v>
                </c:pt>
                <c:pt idx="64">
                  <c:v>582</c:v>
                </c:pt>
                <c:pt idx="65">
                  <c:v>868</c:v>
                </c:pt>
                <c:pt idx="66">
                  <c:v>523</c:v>
                </c:pt>
                <c:pt idx="67">
                  <c:v>519</c:v>
                </c:pt>
                <c:pt idx="68">
                  <c:v>220</c:v>
                </c:pt>
                <c:pt idx="69">
                  <c:v>90</c:v>
                </c:pt>
                <c:pt idx="70">
                  <c:v>363</c:v>
                </c:pt>
                <c:pt idx="71">
                  <c:v>550</c:v>
                </c:pt>
                <c:pt idx="72">
                  <c:v>354</c:v>
                </c:pt>
                <c:pt idx="73">
                  <c:v>370</c:v>
                </c:pt>
                <c:pt idx="74">
                  <c:v>279</c:v>
                </c:pt>
                <c:pt idx="75">
                  <c:v>197</c:v>
                </c:pt>
                <c:pt idx="76">
                  <c:v>65</c:v>
                </c:pt>
                <c:pt idx="77">
                  <c:v>428</c:v>
                </c:pt>
                <c:pt idx="78">
                  <c:v>464</c:v>
                </c:pt>
                <c:pt idx="79">
                  <c:v>290</c:v>
                </c:pt>
                <c:pt idx="80">
                  <c:v>363</c:v>
                </c:pt>
                <c:pt idx="81">
                  <c:v>246</c:v>
                </c:pt>
                <c:pt idx="82">
                  <c:v>113</c:v>
                </c:pt>
                <c:pt idx="83">
                  <c:v>179</c:v>
                </c:pt>
                <c:pt idx="84">
                  <c:v>290</c:v>
                </c:pt>
                <c:pt idx="85">
                  <c:v>406</c:v>
                </c:pt>
                <c:pt idx="86">
                  <c:v>241</c:v>
                </c:pt>
                <c:pt idx="87">
                  <c:v>237</c:v>
                </c:pt>
                <c:pt idx="88">
                  <c:v>290</c:v>
                </c:pt>
                <c:pt idx="89">
                  <c:v>120</c:v>
                </c:pt>
                <c:pt idx="90">
                  <c:v>67</c:v>
                </c:pt>
                <c:pt idx="91">
                  <c:v>211</c:v>
                </c:pt>
                <c:pt idx="92">
                  <c:v>310</c:v>
                </c:pt>
                <c:pt idx="93">
                  <c:v>208</c:v>
                </c:pt>
                <c:pt idx="94">
                  <c:v>192</c:v>
                </c:pt>
                <c:pt idx="95">
                  <c:v>203</c:v>
                </c:pt>
                <c:pt idx="96">
                  <c:v>87</c:v>
                </c:pt>
                <c:pt idx="97">
                  <c:v>73</c:v>
                </c:pt>
                <c:pt idx="98">
                  <c:v>167</c:v>
                </c:pt>
                <c:pt idx="99">
                  <c:v>224</c:v>
                </c:pt>
                <c:pt idx="100">
                  <c:v>158</c:v>
                </c:pt>
                <c:pt idx="101">
                  <c:v>131</c:v>
                </c:pt>
                <c:pt idx="102">
                  <c:v>98</c:v>
                </c:pt>
                <c:pt idx="103">
                  <c:v>101</c:v>
                </c:pt>
                <c:pt idx="104">
                  <c:v>59</c:v>
                </c:pt>
                <c:pt idx="105">
                  <c:v>100</c:v>
                </c:pt>
                <c:pt idx="106">
                  <c:v>169</c:v>
                </c:pt>
                <c:pt idx="107">
                  <c:v>112</c:v>
                </c:pt>
                <c:pt idx="108">
                  <c:v>60</c:v>
                </c:pt>
                <c:pt idx="109">
                  <c:v>85</c:v>
                </c:pt>
                <c:pt idx="110">
                  <c:v>31</c:v>
                </c:pt>
                <c:pt idx="111">
                  <c:v>40</c:v>
                </c:pt>
                <c:pt idx="112">
                  <c:v>61</c:v>
                </c:pt>
                <c:pt idx="113">
                  <c:v>78</c:v>
                </c:pt>
                <c:pt idx="114">
                  <c:v>62</c:v>
                </c:pt>
                <c:pt idx="115">
                  <c:v>66</c:v>
                </c:pt>
                <c:pt idx="116">
                  <c:v>28</c:v>
                </c:pt>
                <c:pt idx="117">
                  <c:v>27</c:v>
                </c:pt>
                <c:pt idx="118">
                  <c:v>9</c:v>
                </c:pt>
                <c:pt idx="119">
                  <c:v>58</c:v>
                </c:pt>
                <c:pt idx="120">
                  <c:v>41</c:v>
                </c:pt>
                <c:pt idx="121">
                  <c:v>45</c:v>
                </c:pt>
                <c:pt idx="122">
                  <c:v>32</c:v>
                </c:pt>
                <c:pt idx="123">
                  <c:v>31</c:v>
                </c:pt>
                <c:pt idx="124">
                  <c:v>17</c:v>
                </c:pt>
                <c:pt idx="125">
                  <c:v>5</c:v>
                </c:pt>
                <c:pt idx="126">
                  <c:v>24</c:v>
                </c:pt>
                <c:pt idx="127">
                  <c:v>34</c:v>
                </c:pt>
                <c:pt idx="128">
                  <c:v>20</c:v>
                </c:pt>
                <c:pt idx="129">
                  <c:v>20</c:v>
                </c:pt>
                <c:pt idx="130">
                  <c:v>19</c:v>
                </c:pt>
                <c:pt idx="131">
                  <c:v>12</c:v>
                </c:pt>
                <c:pt idx="132">
                  <c:v>6</c:v>
                </c:pt>
                <c:pt idx="133">
                  <c:v>12</c:v>
                </c:pt>
                <c:pt idx="134">
                  <c:v>11</c:v>
                </c:pt>
                <c:pt idx="135">
                  <c:v>15</c:v>
                </c:pt>
                <c:pt idx="136">
                  <c:v>7</c:v>
                </c:pt>
                <c:pt idx="137">
                  <c:v>16</c:v>
                </c:pt>
                <c:pt idx="138">
                  <c:v>0</c:v>
                </c:pt>
                <c:pt idx="139">
                  <c:v>5</c:v>
                </c:pt>
                <c:pt idx="140">
                  <c:v>11</c:v>
                </c:pt>
                <c:pt idx="141">
                  <c:v>12</c:v>
                </c:pt>
                <c:pt idx="142">
                  <c:v>9</c:v>
                </c:pt>
                <c:pt idx="143">
                  <c:v>8</c:v>
                </c:pt>
                <c:pt idx="144">
                  <c:v>9</c:v>
                </c:pt>
                <c:pt idx="145">
                  <c:v>4</c:v>
                </c:pt>
                <c:pt idx="146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C$155:$C$322</c:f>
              <c:numCache>
                <c:formatCode>General</c:formatCode>
                <c:ptCount val="16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14A-45E8-87A1-7BD2345ADB4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70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D$155:$D$322</c:f>
              <c:numCache>
                <c:formatCode>General</c:formatCode>
                <c:ptCount val="168"/>
                <c:pt idx="119">
                  <c:v>39</c:v>
                </c:pt>
                <c:pt idx="120">
                  <c:v>37</c:v>
                </c:pt>
                <c:pt idx="121">
                  <c:v>35</c:v>
                </c:pt>
                <c:pt idx="122">
                  <c:v>33</c:v>
                </c:pt>
                <c:pt idx="123">
                  <c:v>31</c:v>
                </c:pt>
                <c:pt idx="124">
                  <c:v>29</c:v>
                </c:pt>
                <c:pt idx="125">
                  <c:v>28</c:v>
                </c:pt>
                <c:pt idx="126">
                  <c:v>26</c:v>
                </c:pt>
                <c:pt idx="127">
                  <c:v>25</c:v>
                </c:pt>
                <c:pt idx="128">
                  <c:v>23</c:v>
                </c:pt>
                <c:pt idx="129">
                  <c:v>22</c:v>
                </c:pt>
                <c:pt idx="130">
                  <c:v>21</c:v>
                </c:pt>
                <c:pt idx="131">
                  <c:v>20</c:v>
                </c:pt>
                <c:pt idx="132">
                  <c:v>19</c:v>
                </c:pt>
                <c:pt idx="133">
                  <c:v>18</c:v>
                </c:pt>
                <c:pt idx="134">
                  <c:v>17</c:v>
                </c:pt>
                <c:pt idx="135">
                  <c:v>16</c:v>
                </c:pt>
                <c:pt idx="136">
                  <c:v>15</c:v>
                </c:pt>
                <c:pt idx="137">
                  <c:v>14</c:v>
                </c:pt>
                <c:pt idx="138">
                  <c:v>14</c:v>
                </c:pt>
                <c:pt idx="139">
                  <c:v>13</c:v>
                </c:pt>
                <c:pt idx="140">
                  <c:v>13</c:v>
                </c:pt>
                <c:pt idx="141">
                  <c:v>12</c:v>
                </c:pt>
                <c:pt idx="142">
                  <c:v>11</c:v>
                </c:pt>
                <c:pt idx="143">
                  <c:v>11</c:v>
                </c:pt>
                <c:pt idx="144">
                  <c:v>10</c:v>
                </c:pt>
                <c:pt idx="145">
                  <c:v>10</c:v>
                </c:pt>
                <c:pt idx="146">
                  <c:v>10</c:v>
                </c:pt>
                <c:pt idx="147">
                  <c:v>9</c:v>
                </c:pt>
                <c:pt idx="148">
                  <c:v>9</c:v>
                </c:pt>
                <c:pt idx="149">
                  <c:v>8</c:v>
                </c:pt>
                <c:pt idx="150">
                  <c:v>8</c:v>
                </c:pt>
                <c:pt idx="151">
                  <c:v>8</c:v>
                </c:pt>
                <c:pt idx="152">
                  <c:v>8</c:v>
                </c:pt>
                <c:pt idx="153">
                  <c:v>7</c:v>
                </c:pt>
                <c:pt idx="154">
                  <c:v>7</c:v>
                </c:pt>
                <c:pt idx="155">
                  <c:v>7</c:v>
                </c:pt>
                <c:pt idx="156">
                  <c:v>7</c:v>
                </c:pt>
                <c:pt idx="157">
                  <c:v>6</c:v>
                </c:pt>
                <c:pt idx="158">
                  <c:v>6</c:v>
                </c:pt>
                <c:pt idx="159">
                  <c:v>6</c:v>
                </c:pt>
                <c:pt idx="160">
                  <c:v>6</c:v>
                </c:pt>
                <c:pt idx="161">
                  <c:v>6</c:v>
                </c:pt>
                <c:pt idx="162">
                  <c:v>6</c:v>
                </c:pt>
                <c:pt idx="163">
                  <c:v>6</c:v>
                </c:pt>
                <c:pt idx="164">
                  <c:v>5</c:v>
                </c:pt>
                <c:pt idx="165">
                  <c:v>5</c:v>
                </c:pt>
                <c:pt idx="166">
                  <c:v>5</c:v>
                </c:pt>
                <c:pt idx="167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14A-45E8-87A1-7BD2345ADB46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0,90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F$155:$F$322</c:f>
              <c:numCache>
                <c:formatCode>General</c:formatCode>
                <c:ptCount val="168"/>
                <c:pt idx="119">
                  <c:v>39</c:v>
                </c:pt>
                <c:pt idx="120">
                  <c:v>41</c:v>
                </c:pt>
                <c:pt idx="121">
                  <c:v>41</c:v>
                </c:pt>
                <c:pt idx="122">
                  <c:v>40</c:v>
                </c:pt>
                <c:pt idx="123">
                  <c:v>38</c:v>
                </c:pt>
                <c:pt idx="124">
                  <c:v>37</c:v>
                </c:pt>
                <c:pt idx="125">
                  <c:v>37</c:v>
                </c:pt>
                <c:pt idx="126">
                  <c:v>37</c:v>
                </c:pt>
                <c:pt idx="127">
                  <c:v>37</c:v>
                </c:pt>
                <c:pt idx="128">
                  <c:v>36</c:v>
                </c:pt>
                <c:pt idx="129">
                  <c:v>35</c:v>
                </c:pt>
                <c:pt idx="130">
                  <c:v>34</c:v>
                </c:pt>
                <c:pt idx="131">
                  <c:v>34</c:v>
                </c:pt>
                <c:pt idx="132">
                  <c:v>34</c:v>
                </c:pt>
                <c:pt idx="133">
                  <c:v>34</c:v>
                </c:pt>
                <c:pt idx="134">
                  <c:v>33</c:v>
                </c:pt>
                <c:pt idx="135">
                  <c:v>33</c:v>
                </c:pt>
                <c:pt idx="136">
                  <c:v>32</c:v>
                </c:pt>
                <c:pt idx="137">
                  <c:v>32</c:v>
                </c:pt>
                <c:pt idx="138">
                  <c:v>31</c:v>
                </c:pt>
                <c:pt idx="139">
                  <c:v>31</c:v>
                </c:pt>
                <c:pt idx="140">
                  <c:v>31</c:v>
                </c:pt>
                <c:pt idx="141">
                  <c:v>30</c:v>
                </c:pt>
                <c:pt idx="142">
                  <c:v>30</c:v>
                </c:pt>
                <c:pt idx="143">
                  <c:v>29</c:v>
                </c:pt>
                <c:pt idx="144">
                  <c:v>29</c:v>
                </c:pt>
                <c:pt idx="145">
                  <c:v>29</c:v>
                </c:pt>
                <c:pt idx="146">
                  <c:v>28</c:v>
                </c:pt>
                <c:pt idx="147">
                  <c:v>28</c:v>
                </c:pt>
                <c:pt idx="148">
                  <c:v>28</c:v>
                </c:pt>
                <c:pt idx="149">
                  <c:v>27</c:v>
                </c:pt>
                <c:pt idx="150">
                  <c:v>27</c:v>
                </c:pt>
                <c:pt idx="151">
                  <c:v>27</c:v>
                </c:pt>
                <c:pt idx="152">
                  <c:v>26</c:v>
                </c:pt>
                <c:pt idx="153">
                  <c:v>26</c:v>
                </c:pt>
                <c:pt idx="154">
                  <c:v>26</c:v>
                </c:pt>
                <c:pt idx="155">
                  <c:v>25</c:v>
                </c:pt>
                <c:pt idx="156">
                  <c:v>25</c:v>
                </c:pt>
                <c:pt idx="157">
                  <c:v>25</c:v>
                </c:pt>
                <c:pt idx="158">
                  <c:v>24</c:v>
                </c:pt>
                <c:pt idx="159">
                  <c:v>24</c:v>
                </c:pt>
                <c:pt idx="160">
                  <c:v>24</c:v>
                </c:pt>
                <c:pt idx="161">
                  <c:v>24</c:v>
                </c:pt>
                <c:pt idx="162">
                  <c:v>23</c:v>
                </c:pt>
                <c:pt idx="163">
                  <c:v>23</c:v>
                </c:pt>
                <c:pt idx="164">
                  <c:v>23</c:v>
                </c:pt>
                <c:pt idx="165">
                  <c:v>23</c:v>
                </c:pt>
                <c:pt idx="166">
                  <c:v>22</c:v>
                </c:pt>
                <c:pt idx="167">
                  <c:v>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14A-45E8-87A1-7BD2345ADB46}"/>
            </c:ext>
          </c:extLst>
        </c:ser>
        <c:ser>
          <c:idx val="5"/>
          <c:order val="4"/>
          <c:tx>
            <c:strRef>
              <c:f>Sheet1!$G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G$155:$G$322</c:f>
              <c:numCache>
                <c:formatCode>General</c:formatCode>
                <c:ptCount val="168"/>
                <c:pt idx="119">
                  <c:v>39</c:v>
                </c:pt>
                <c:pt idx="120">
                  <c:v>45</c:v>
                </c:pt>
                <c:pt idx="121">
                  <c:v>47</c:v>
                </c:pt>
                <c:pt idx="122">
                  <c:v>47</c:v>
                </c:pt>
                <c:pt idx="123">
                  <c:v>46</c:v>
                </c:pt>
                <c:pt idx="124">
                  <c:v>46</c:v>
                </c:pt>
                <c:pt idx="125">
                  <c:v>47</c:v>
                </c:pt>
                <c:pt idx="126">
                  <c:v>49</c:v>
                </c:pt>
                <c:pt idx="127">
                  <c:v>51</c:v>
                </c:pt>
                <c:pt idx="128">
                  <c:v>52</c:v>
                </c:pt>
                <c:pt idx="129">
                  <c:v>52</c:v>
                </c:pt>
                <c:pt idx="130">
                  <c:v>53</c:v>
                </c:pt>
                <c:pt idx="131">
                  <c:v>54</c:v>
                </c:pt>
                <c:pt idx="132">
                  <c:v>56</c:v>
                </c:pt>
                <c:pt idx="133">
                  <c:v>57</c:v>
                </c:pt>
                <c:pt idx="134">
                  <c:v>58</c:v>
                </c:pt>
                <c:pt idx="135">
                  <c:v>59</c:v>
                </c:pt>
                <c:pt idx="136">
                  <c:v>60</c:v>
                </c:pt>
                <c:pt idx="137">
                  <c:v>61</c:v>
                </c:pt>
                <c:pt idx="138">
                  <c:v>63</c:v>
                </c:pt>
                <c:pt idx="139">
                  <c:v>64</c:v>
                </c:pt>
                <c:pt idx="140">
                  <c:v>65</c:v>
                </c:pt>
                <c:pt idx="141">
                  <c:v>66</c:v>
                </c:pt>
                <c:pt idx="142">
                  <c:v>68</c:v>
                </c:pt>
                <c:pt idx="143">
                  <c:v>69</c:v>
                </c:pt>
                <c:pt idx="144">
                  <c:v>71</c:v>
                </c:pt>
                <c:pt idx="145">
                  <c:v>72</c:v>
                </c:pt>
                <c:pt idx="146">
                  <c:v>74</c:v>
                </c:pt>
                <c:pt idx="147">
                  <c:v>75</c:v>
                </c:pt>
                <c:pt idx="148">
                  <c:v>76</c:v>
                </c:pt>
                <c:pt idx="149">
                  <c:v>78</c:v>
                </c:pt>
                <c:pt idx="150">
                  <c:v>80</c:v>
                </c:pt>
                <c:pt idx="151">
                  <c:v>81</c:v>
                </c:pt>
                <c:pt idx="152">
                  <c:v>83</c:v>
                </c:pt>
                <c:pt idx="153">
                  <c:v>84</c:v>
                </c:pt>
                <c:pt idx="154">
                  <c:v>86</c:v>
                </c:pt>
                <c:pt idx="155">
                  <c:v>88</c:v>
                </c:pt>
                <c:pt idx="156">
                  <c:v>89</c:v>
                </c:pt>
                <c:pt idx="157">
                  <c:v>91</c:v>
                </c:pt>
                <c:pt idx="158">
                  <c:v>93</c:v>
                </c:pt>
                <c:pt idx="159">
                  <c:v>95</c:v>
                </c:pt>
                <c:pt idx="160">
                  <c:v>97</c:v>
                </c:pt>
                <c:pt idx="161">
                  <c:v>98</c:v>
                </c:pt>
                <c:pt idx="162">
                  <c:v>100</c:v>
                </c:pt>
                <c:pt idx="163">
                  <c:v>102</c:v>
                </c:pt>
                <c:pt idx="164">
                  <c:v>104</c:v>
                </c:pt>
                <c:pt idx="165">
                  <c:v>106</c:v>
                </c:pt>
                <c:pt idx="166">
                  <c:v>108</c:v>
                </c:pt>
                <c:pt idx="167">
                  <c:v>11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31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34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5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H$2:$H$169</c:f>
              <c:numCache>
                <c:formatCode>0</c:formatCode>
                <c:ptCount val="168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  <c:pt idx="126">
                  <c:v>100</c:v>
                </c:pt>
                <c:pt idx="127">
                  <c:v>100</c:v>
                </c:pt>
                <c:pt idx="128">
                  <c:v>100</c:v>
                </c:pt>
                <c:pt idx="129">
                  <c:v>100</c:v>
                </c:pt>
                <c:pt idx="130">
                  <c:v>100</c:v>
                </c:pt>
                <c:pt idx="131">
                  <c:v>100</c:v>
                </c:pt>
                <c:pt idx="132">
                  <c:v>100</c:v>
                </c:pt>
                <c:pt idx="133">
                  <c:v>100</c:v>
                </c:pt>
                <c:pt idx="134">
                  <c:v>100</c:v>
                </c:pt>
                <c:pt idx="135">
                  <c:v>100</c:v>
                </c:pt>
                <c:pt idx="136">
                  <c:v>100</c:v>
                </c:pt>
                <c:pt idx="137">
                  <c:v>100</c:v>
                </c:pt>
                <c:pt idx="138">
                  <c:v>100</c:v>
                </c:pt>
                <c:pt idx="139">
                  <c:v>100</c:v>
                </c:pt>
                <c:pt idx="140">
                  <c:v>100</c:v>
                </c:pt>
                <c:pt idx="141">
                  <c:v>100</c:v>
                </c:pt>
                <c:pt idx="142">
                  <c:v>100</c:v>
                </c:pt>
                <c:pt idx="143">
                  <c:v>100</c:v>
                </c:pt>
                <c:pt idx="144">
                  <c:v>100</c:v>
                </c:pt>
                <c:pt idx="145">
                  <c:v>100</c:v>
                </c:pt>
                <c:pt idx="146">
                  <c:v>100</c:v>
                </c:pt>
                <c:pt idx="147">
                  <c:v>100</c:v>
                </c:pt>
                <c:pt idx="148">
                  <c:v>100</c:v>
                </c:pt>
                <c:pt idx="149">
                  <c:v>100</c:v>
                </c:pt>
                <c:pt idx="150">
                  <c:v>100</c:v>
                </c:pt>
                <c:pt idx="151">
                  <c:v>100</c:v>
                </c:pt>
                <c:pt idx="152">
                  <c:v>100</c:v>
                </c:pt>
                <c:pt idx="153">
                  <c:v>100</c:v>
                </c:pt>
                <c:pt idx="154">
                  <c:v>100</c:v>
                </c:pt>
                <c:pt idx="155">
                  <c:v>100</c:v>
                </c:pt>
                <c:pt idx="156">
                  <c:v>100</c:v>
                </c:pt>
                <c:pt idx="157">
                  <c:v>100</c:v>
                </c:pt>
                <c:pt idx="158">
                  <c:v>100</c:v>
                </c:pt>
                <c:pt idx="159">
                  <c:v>100</c:v>
                </c:pt>
                <c:pt idx="160">
                  <c:v>100</c:v>
                </c:pt>
                <c:pt idx="161">
                  <c:v>100</c:v>
                </c:pt>
                <c:pt idx="162">
                  <c:v>100</c:v>
                </c:pt>
                <c:pt idx="163">
                  <c:v>100</c:v>
                </c:pt>
                <c:pt idx="164">
                  <c:v>100</c:v>
                </c:pt>
                <c:pt idx="165">
                  <c:v>100</c:v>
                </c:pt>
                <c:pt idx="166">
                  <c:v>100</c:v>
                </c:pt>
                <c:pt idx="167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EF5-483F-B422-4E0629062509}"/>
            </c:ext>
          </c:extLst>
        </c:ser>
        <c:ser>
          <c:idx val="7"/>
          <c:order val="6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rgbClr val="C2FFDF"/>
            </a:solidFill>
            <a:ln>
              <a:noFill/>
            </a:ln>
            <a:effectLst/>
          </c:spP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I$2:$I$169</c:f>
              <c:numCache>
                <c:formatCode>0</c:formatCode>
                <c:ptCount val="168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  <c:pt idx="79">
                  <c:v>50</c:v>
                </c:pt>
                <c:pt idx="80">
                  <c:v>50</c:v>
                </c:pt>
                <c:pt idx="81">
                  <c:v>50</c:v>
                </c:pt>
                <c:pt idx="82">
                  <c:v>50</c:v>
                </c:pt>
                <c:pt idx="83">
                  <c:v>50</c:v>
                </c:pt>
                <c:pt idx="84">
                  <c:v>50</c:v>
                </c:pt>
                <c:pt idx="85">
                  <c:v>50</c:v>
                </c:pt>
                <c:pt idx="86">
                  <c:v>50</c:v>
                </c:pt>
                <c:pt idx="87">
                  <c:v>50</c:v>
                </c:pt>
                <c:pt idx="88">
                  <c:v>50</c:v>
                </c:pt>
                <c:pt idx="89">
                  <c:v>50</c:v>
                </c:pt>
                <c:pt idx="90">
                  <c:v>50</c:v>
                </c:pt>
                <c:pt idx="91">
                  <c:v>50</c:v>
                </c:pt>
                <c:pt idx="92">
                  <c:v>50</c:v>
                </c:pt>
                <c:pt idx="93">
                  <c:v>50</c:v>
                </c:pt>
                <c:pt idx="94">
                  <c:v>50</c:v>
                </c:pt>
                <c:pt idx="95">
                  <c:v>50</c:v>
                </c:pt>
                <c:pt idx="96">
                  <c:v>50</c:v>
                </c:pt>
                <c:pt idx="97">
                  <c:v>50</c:v>
                </c:pt>
                <c:pt idx="98">
                  <c:v>50</c:v>
                </c:pt>
                <c:pt idx="99">
                  <c:v>50</c:v>
                </c:pt>
                <c:pt idx="100">
                  <c:v>50</c:v>
                </c:pt>
                <c:pt idx="101">
                  <c:v>50</c:v>
                </c:pt>
                <c:pt idx="102">
                  <c:v>50</c:v>
                </c:pt>
                <c:pt idx="103">
                  <c:v>50</c:v>
                </c:pt>
                <c:pt idx="104">
                  <c:v>50</c:v>
                </c:pt>
                <c:pt idx="105">
                  <c:v>50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  <c:pt idx="110">
                  <c:v>50</c:v>
                </c:pt>
                <c:pt idx="111">
                  <c:v>50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0</c:v>
                </c:pt>
                <c:pt idx="122">
                  <c:v>50</c:v>
                </c:pt>
                <c:pt idx="123">
                  <c:v>50</c:v>
                </c:pt>
                <c:pt idx="124">
                  <c:v>50</c:v>
                </c:pt>
                <c:pt idx="125">
                  <c:v>50</c:v>
                </c:pt>
                <c:pt idx="126">
                  <c:v>50</c:v>
                </c:pt>
                <c:pt idx="127">
                  <c:v>50</c:v>
                </c:pt>
                <c:pt idx="128">
                  <c:v>50</c:v>
                </c:pt>
                <c:pt idx="129">
                  <c:v>50</c:v>
                </c:pt>
                <c:pt idx="130">
                  <c:v>50</c:v>
                </c:pt>
                <c:pt idx="131">
                  <c:v>50</c:v>
                </c:pt>
                <c:pt idx="132">
                  <c:v>50</c:v>
                </c:pt>
                <c:pt idx="133">
                  <c:v>50</c:v>
                </c:pt>
                <c:pt idx="134">
                  <c:v>50</c:v>
                </c:pt>
                <c:pt idx="135">
                  <c:v>50</c:v>
                </c:pt>
                <c:pt idx="136">
                  <c:v>50</c:v>
                </c:pt>
                <c:pt idx="137">
                  <c:v>50</c:v>
                </c:pt>
                <c:pt idx="138">
                  <c:v>50</c:v>
                </c:pt>
                <c:pt idx="139">
                  <c:v>50</c:v>
                </c:pt>
                <c:pt idx="140">
                  <c:v>50</c:v>
                </c:pt>
                <c:pt idx="141">
                  <c:v>50</c:v>
                </c:pt>
                <c:pt idx="142">
                  <c:v>50</c:v>
                </c:pt>
                <c:pt idx="143">
                  <c:v>50</c:v>
                </c:pt>
                <c:pt idx="144">
                  <c:v>50</c:v>
                </c:pt>
                <c:pt idx="145">
                  <c:v>50</c:v>
                </c:pt>
                <c:pt idx="146">
                  <c:v>50</c:v>
                </c:pt>
                <c:pt idx="147">
                  <c:v>50</c:v>
                </c:pt>
                <c:pt idx="148">
                  <c:v>50</c:v>
                </c:pt>
                <c:pt idx="149">
                  <c:v>50</c:v>
                </c:pt>
                <c:pt idx="150">
                  <c:v>50</c:v>
                </c:pt>
                <c:pt idx="151">
                  <c:v>50</c:v>
                </c:pt>
                <c:pt idx="152">
                  <c:v>50</c:v>
                </c:pt>
                <c:pt idx="153">
                  <c:v>50</c:v>
                </c:pt>
                <c:pt idx="154">
                  <c:v>50</c:v>
                </c:pt>
                <c:pt idx="155">
                  <c:v>50</c:v>
                </c:pt>
                <c:pt idx="156">
                  <c:v>50</c:v>
                </c:pt>
                <c:pt idx="157">
                  <c:v>50</c:v>
                </c:pt>
                <c:pt idx="158">
                  <c:v>50</c:v>
                </c:pt>
                <c:pt idx="159">
                  <c:v>50</c:v>
                </c:pt>
                <c:pt idx="160">
                  <c:v>50</c:v>
                </c:pt>
                <c:pt idx="161">
                  <c:v>50</c:v>
                </c:pt>
                <c:pt idx="162">
                  <c:v>50</c:v>
                </c:pt>
                <c:pt idx="163">
                  <c:v>50</c:v>
                </c:pt>
                <c:pt idx="164">
                  <c:v>50</c:v>
                </c:pt>
                <c:pt idx="165">
                  <c:v>50</c:v>
                </c:pt>
                <c:pt idx="166">
                  <c:v>50</c:v>
                </c:pt>
                <c:pt idx="167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EF5-483F-B422-4E06290625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B$2:$B$169</c:f>
              <c:numCache>
                <c:formatCode>0</c:formatCode>
                <c:ptCount val="168"/>
                <c:pt idx="0">
                  <c:v>350.36437727918803</c:v>
                </c:pt>
                <c:pt idx="1">
                  <c:v>342.50042038705726</c:v>
                </c:pt>
                <c:pt idx="2">
                  <c:v>341.41285188069878</c:v>
                </c:pt>
                <c:pt idx="3">
                  <c:v>331.54107620759845</c:v>
                </c:pt>
                <c:pt idx="4">
                  <c:v>328.69666626789154</c:v>
                </c:pt>
                <c:pt idx="5">
                  <c:v>338.31746459337069</c:v>
                </c:pt>
                <c:pt idx="6">
                  <c:v>340.65991983783516</c:v>
                </c:pt>
                <c:pt idx="7">
                  <c:v>340.91089718545635</c:v>
                </c:pt>
                <c:pt idx="8">
                  <c:v>356.13685627447552</c:v>
                </c:pt>
                <c:pt idx="9">
                  <c:v>346.09776236962773</c:v>
                </c:pt>
                <c:pt idx="10">
                  <c:v>357.97735682369762</c:v>
                </c:pt>
                <c:pt idx="11">
                  <c:v>370.6935424365048</c:v>
                </c:pt>
                <c:pt idx="12">
                  <c:v>351.95390048078895</c:v>
                </c:pt>
                <c:pt idx="13">
                  <c:v>362.57860819675284</c:v>
                </c:pt>
                <c:pt idx="14">
                  <c:v>364.33544963010121</c:v>
                </c:pt>
                <c:pt idx="15">
                  <c:v>380.56531810960513</c:v>
                </c:pt>
                <c:pt idx="16">
                  <c:v>384.41363743979679</c:v>
                </c:pt>
                <c:pt idx="17">
                  <c:v>394.28541311289712</c:v>
                </c:pt>
                <c:pt idx="18">
                  <c:v>409.59503131779002</c:v>
                </c:pt>
                <c:pt idx="19">
                  <c:v>417.54264732579452</c:v>
                </c:pt>
                <c:pt idx="20">
                  <c:v>422.22755781472353</c:v>
                </c:pt>
                <c:pt idx="21">
                  <c:v>454.68729477373137</c:v>
                </c:pt>
                <c:pt idx="22">
                  <c:v>466.14859364843255</c:v>
                </c:pt>
                <c:pt idx="23">
                  <c:v>491.24632841055211</c:v>
                </c:pt>
                <c:pt idx="24">
                  <c:v>524.79363387591843</c:v>
                </c:pt>
                <c:pt idx="25">
                  <c:v>528.22365762674144</c:v>
                </c:pt>
                <c:pt idx="26">
                  <c:v>563.94610010482484</c:v>
                </c:pt>
                <c:pt idx="27">
                  <c:v>558.75923492065351</c:v>
                </c:pt>
                <c:pt idx="28">
                  <c:v>567.29246473977412</c:v>
                </c:pt>
                <c:pt idx="29">
                  <c:v>584.94453818913155</c:v>
                </c:pt>
                <c:pt idx="30">
                  <c:v>612.38472819571541</c:v>
                </c:pt>
                <c:pt idx="31">
                  <c:v>608.36909063377641</c:v>
                </c:pt>
                <c:pt idx="32">
                  <c:v>631.62632484667381</c:v>
                </c:pt>
                <c:pt idx="33">
                  <c:v>634.80537124987552</c:v>
                </c:pt>
                <c:pt idx="34">
                  <c:v>636.64587179909768</c:v>
                </c:pt>
                <c:pt idx="35">
                  <c:v>623.92968618629038</c:v>
                </c:pt>
                <c:pt idx="36">
                  <c:v>629.6185060657042</c:v>
                </c:pt>
                <c:pt idx="37">
                  <c:v>608.95470444489251</c:v>
                </c:pt>
                <c:pt idx="38">
                  <c:v>586.28308404311122</c:v>
                </c:pt>
                <c:pt idx="39">
                  <c:v>594.98363209397928</c:v>
                </c:pt>
                <c:pt idx="40">
                  <c:v>597.82804203368619</c:v>
                </c:pt>
                <c:pt idx="41">
                  <c:v>592.39019950189356</c:v>
                </c:pt>
                <c:pt idx="42">
                  <c:v>590.2150624891766</c:v>
                </c:pt>
                <c:pt idx="43">
                  <c:v>588.03992547645953</c:v>
                </c:pt>
                <c:pt idx="44">
                  <c:v>586.36674315898495</c:v>
                </c:pt>
                <c:pt idx="45">
                  <c:v>595.98754148446415</c:v>
                </c:pt>
                <c:pt idx="46">
                  <c:v>555.74750674919926</c:v>
                </c:pt>
                <c:pt idx="47">
                  <c:v>525.29558857116081</c:v>
                </c:pt>
                <c:pt idx="48">
                  <c:v>520.4433598504844</c:v>
                </c:pt>
                <c:pt idx="49">
                  <c:v>508.22912893291959</c:v>
                </c:pt>
                <c:pt idx="50">
                  <c:v>476.85696048027023</c:v>
                </c:pt>
                <c:pt idx="51">
                  <c:v>451.59190748640327</c:v>
                </c:pt>
                <c:pt idx="52">
                  <c:v>445.98674672286324</c:v>
                </c:pt>
                <c:pt idx="53">
                  <c:v>419.29948875914283</c:v>
                </c:pt>
                <c:pt idx="54">
                  <c:v>425.57392244967275</c:v>
                </c:pt>
                <c:pt idx="55">
                  <c:v>422.39487604647093</c:v>
                </c:pt>
                <c:pt idx="56">
                  <c:v>417.96094290516317</c:v>
                </c:pt>
                <c:pt idx="57">
                  <c:v>404.24084790187118</c:v>
                </c:pt>
                <c:pt idx="58">
                  <c:v>405.74671198759836</c:v>
                </c:pt>
                <c:pt idx="59">
                  <c:v>387.92732030649353</c:v>
                </c:pt>
                <c:pt idx="60">
                  <c:v>364.33544963010121</c:v>
                </c:pt>
                <c:pt idx="61">
                  <c:v>341.07821541720381</c:v>
                </c:pt>
                <c:pt idx="62">
                  <c:v>339.15405575210798</c:v>
                </c:pt>
                <c:pt idx="63">
                  <c:v>282.26585695797053</c:v>
                </c:pt>
                <c:pt idx="64">
                  <c:v>251.14466585294232</c:v>
                </c:pt>
                <c:pt idx="65">
                  <c:v>251.89759789580592</c:v>
                </c:pt>
                <c:pt idx="66">
                  <c:v>235.33309295280708</c:v>
                </c:pt>
                <c:pt idx="67">
                  <c:v>245.12120951003365</c:v>
                </c:pt>
                <c:pt idx="68">
                  <c:v>248.21659679736172</c:v>
                </c:pt>
                <c:pt idx="69">
                  <c:v>242.3604586862005</c:v>
                </c:pt>
                <c:pt idx="70">
                  <c:v>264.78110174036055</c:v>
                </c:pt>
                <c:pt idx="71">
                  <c:v>262.10401003240122</c:v>
                </c:pt>
                <c:pt idx="72">
                  <c:v>219.1032244733031</c:v>
                </c:pt>
                <c:pt idx="73">
                  <c:v>206.30337974462219</c:v>
                </c:pt>
                <c:pt idx="74">
                  <c:v>186.22519193492658</c:v>
                </c:pt>
                <c:pt idx="75">
                  <c:v>184.30103226983078</c:v>
                </c:pt>
                <c:pt idx="76">
                  <c:v>182.2095543729875</c:v>
                </c:pt>
                <c:pt idx="77">
                  <c:v>187.64739690478004</c:v>
                </c:pt>
                <c:pt idx="78">
                  <c:v>180.45271293963913</c:v>
                </c:pt>
                <c:pt idx="79">
                  <c:v>175.09852952372029</c:v>
                </c:pt>
                <c:pt idx="80">
                  <c:v>174.51291571260415</c:v>
                </c:pt>
                <c:pt idx="81">
                  <c:v>171.75216488877101</c:v>
                </c:pt>
                <c:pt idx="82">
                  <c:v>164.72479915537755</c:v>
                </c:pt>
                <c:pt idx="83">
                  <c:v>174.26193836498297</c:v>
                </c:pt>
                <c:pt idx="84">
                  <c:v>162.71698037440802</c:v>
                </c:pt>
                <c:pt idx="85">
                  <c:v>157.86475165373159</c:v>
                </c:pt>
                <c:pt idx="86">
                  <c:v>153.76545497591871</c:v>
                </c:pt>
                <c:pt idx="87">
                  <c:v>143.22440637582855</c:v>
                </c:pt>
                <c:pt idx="88">
                  <c:v>146.90540747427272</c:v>
                </c:pt>
                <c:pt idx="89">
                  <c:v>147.49102128538885</c:v>
                </c:pt>
                <c:pt idx="90">
                  <c:v>138.1212003075309</c:v>
                </c:pt>
                <c:pt idx="91">
                  <c:v>131.51213015350612</c:v>
                </c:pt>
                <c:pt idx="92">
                  <c:v>123.48085502962788</c:v>
                </c:pt>
                <c:pt idx="93">
                  <c:v>120.72010420579474</c:v>
                </c:pt>
                <c:pt idx="94">
                  <c:v>116.95544399147681</c:v>
                </c:pt>
                <c:pt idx="95">
                  <c:v>109.67710091046216</c:v>
                </c:pt>
                <c:pt idx="96">
                  <c:v>106.91635008662902</c:v>
                </c:pt>
                <c:pt idx="97">
                  <c:v>107.41830478187141</c:v>
                </c:pt>
                <c:pt idx="98">
                  <c:v>103.7373036834272</c:v>
                </c:pt>
                <c:pt idx="99">
                  <c:v>96.542619718286289</c:v>
                </c:pt>
                <c:pt idx="100">
                  <c:v>92.359663924599715</c:v>
                </c:pt>
                <c:pt idx="101">
                  <c:v>87.256457856302077</c:v>
                </c:pt>
                <c:pt idx="102">
                  <c:v>78.472250689560255</c:v>
                </c:pt>
                <c:pt idx="103">
                  <c:v>79.643478311792506</c:v>
                </c:pt>
                <c:pt idx="104">
                  <c:v>78.472250689560255</c:v>
                </c:pt>
                <c:pt idx="105">
                  <c:v>72.867089926020256</c:v>
                </c:pt>
                <c:pt idx="106">
                  <c:v>68.265838552965008</c:v>
                </c:pt>
                <c:pt idx="107">
                  <c:v>64.41751922277335</c:v>
                </c:pt>
                <c:pt idx="108">
                  <c:v>58.477721995738406</c:v>
                </c:pt>
                <c:pt idx="109">
                  <c:v>57.390153489379891</c:v>
                </c:pt>
                <c:pt idx="110">
                  <c:v>51.534015378218683</c:v>
                </c:pt>
                <c:pt idx="111">
                  <c:v>49.944492176617771</c:v>
                </c:pt>
                <c:pt idx="112">
                  <c:v>46.681786657542247</c:v>
                </c:pt>
                <c:pt idx="113">
                  <c:v>39.068807113032669</c:v>
                </c:pt>
                <c:pt idx="114">
                  <c:v>34.885851319346088</c:v>
                </c:pt>
                <c:pt idx="115">
                  <c:v>35.387806014588477</c:v>
                </c:pt>
                <c:pt idx="116">
                  <c:v>30.619236409785778</c:v>
                </c:pt>
                <c:pt idx="117">
                  <c:v>30.284599946290847</c:v>
                </c:pt>
                <c:pt idx="118">
                  <c:v>27.69116735420517</c:v>
                </c:pt>
                <c:pt idx="119">
                  <c:v>27.440190006583975</c:v>
                </c:pt>
                <c:pt idx="120">
                  <c:v>24.344802719255902</c:v>
                </c:pt>
                <c:pt idx="121">
                  <c:v>22.922597749402463</c:v>
                </c:pt>
                <c:pt idx="122">
                  <c:v>20.078187809695592</c:v>
                </c:pt>
                <c:pt idx="123">
                  <c:v>20.329165157316783</c:v>
                </c:pt>
                <c:pt idx="124">
                  <c:v>19.492573998579466</c:v>
                </c:pt>
                <c:pt idx="125">
                  <c:v>19.157937535084542</c:v>
                </c:pt>
                <c:pt idx="126">
                  <c:v>16.313527595377668</c:v>
                </c:pt>
                <c:pt idx="127">
                  <c:v>15.727913784261547</c:v>
                </c:pt>
                <c:pt idx="128">
                  <c:v>13.636435887418255</c:v>
                </c:pt>
                <c:pt idx="129">
                  <c:v>12.632526496933474</c:v>
                </c:pt>
                <c:pt idx="130">
                  <c:v>11.628617106448695</c:v>
                </c:pt>
                <c:pt idx="131">
                  <c:v>11.210321527080039</c:v>
                </c:pt>
                <c:pt idx="132">
                  <c:v>11.293980642953768</c:v>
                </c:pt>
                <c:pt idx="133">
                  <c:v>10.290071252468989</c:v>
                </c:pt>
                <c:pt idx="134">
                  <c:v>8.3659115873731622</c:v>
                </c:pt>
                <c:pt idx="135">
                  <c:v>7.9476160080045037</c:v>
                </c:pt>
                <c:pt idx="136">
                  <c:v>6.8600475016459939</c:v>
                </c:pt>
                <c:pt idx="137">
                  <c:v>6.6090701540247982</c:v>
                </c:pt>
                <c:pt idx="138">
                  <c:v>5.6051607635400194</c:v>
                </c:pt>
                <c:pt idx="139">
                  <c:v>5.5215016476662875</c:v>
                </c:pt>
                <c:pt idx="140">
                  <c:v>5.4378425317925556</c:v>
                </c:pt>
                <c:pt idx="141">
                  <c:v>5.5215016476662875</c:v>
                </c:pt>
                <c:pt idx="142">
                  <c:v>5.019546952423898</c:v>
                </c:pt>
                <c:pt idx="143">
                  <c:v>5.103206068297629</c:v>
                </c:pt>
                <c:pt idx="144">
                  <c:v>4.5175922571815077</c:v>
                </c:pt>
                <c:pt idx="145">
                  <c:v>4.8522287206764343</c:v>
                </c:pt>
                <c:pt idx="146">
                  <c:v>5.0195469524238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C$2:$C$169</c:f>
              <c:numCache>
                <c:formatCode>General</c:formatCode>
                <c:ptCount val="16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14A-45E8-87A1-7BD2345ADB4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75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D$2:$D$169</c:f>
              <c:numCache>
                <c:formatCode>General</c:formatCode>
                <c:ptCount val="168"/>
                <c:pt idx="119">
                  <c:v>28.025803817700091</c:v>
                </c:pt>
                <c:pt idx="120">
                  <c:v>26.268962384351731</c:v>
                </c:pt>
                <c:pt idx="121">
                  <c:v>24.595780066877097</c:v>
                </c:pt>
                <c:pt idx="122">
                  <c:v>23.089915981149929</c:v>
                </c:pt>
                <c:pt idx="123">
                  <c:v>21.751370127170222</c:v>
                </c:pt>
                <c:pt idx="124">
                  <c:v>20.496483389064249</c:v>
                </c:pt>
                <c:pt idx="125">
                  <c:v>19.408914882705737</c:v>
                </c:pt>
                <c:pt idx="126">
                  <c:v>18.321346376347226</c:v>
                </c:pt>
                <c:pt idx="127">
                  <c:v>17.317436985862447</c:v>
                </c:pt>
                <c:pt idx="128">
                  <c:v>16.313527595377668</c:v>
                </c:pt>
                <c:pt idx="129">
                  <c:v>15.393277320766618</c:v>
                </c:pt>
                <c:pt idx="130">
                  <c:v>14.556686162029301</c:v>
                </c:pt>
                <c:pt idx="131">
                  <c:v>13.803754119165717</c:v>
                </c:pt>
                <c:pt idx="132">
                  <c:v>13.050822076302133</c:v>
                </c:pt>
                <c:pt idx="133">
                  <c:v>12.381549149312281</c:v>
                </c:pt>
                <c:pt idx="134">
                  <c:v>11.712276222322426</c:v>
                </c:pt>
                <c:pt idx="135">
                  <c:v>11.126662411206306</c:v>
                </c:pt>
                <c:pt idx="136">
                  <c:v>10.541048600090184</c:v>
                </c:pt>
                <c:pt idx="137">
                  <c:v>9.9554347889740633</c:v>
                </c:pt>
                <c:pt idx="138">
                  <c:v>9.4534800937316739</c:v>
                </c:pt>
                <c:pt idx="139">
                  <c:v>8.9515253984892844</c:v>
                </c:pt>
                <c:pt idx="140">
                  <c:v>8.5332298191206259</c:v>
                </c:pt>
                <c:pt idx="141">
                  <c:v>8.1149342397519675</c:v>
                </c:pt>
                <c:pt idx="142">
                  <c:v>7.696638660383309</c:v>
                </c:pt>
                <c:pt idx="143">
                  <c:v>7.3620021968883824</c:v>
                </c:pt>
                <c:pt idx="144">
                  <c:v>7.0273657333934567</c:v>
                </c:pt>
                <c:pt idx="145">
                  <c:v>6.6927292698985292</c:v>
                </c:pt>
                <c:pt idx="146">
                  <c:v>6.4417519222773354</c:v>
                </c:pt>
                <c:pt idx="147">
                  <c:v>6.1071154587824079</c:v>
                </c:pt>
                <c:pt idx="148">
                  <c:v>5.8561381111612132</c:v>
                </c:pt>
                <c:pt idx="149">
                  <c:v>5.6051607635400194</c:v>
                </c:pt>
                <c:pt idx="150">
                  <c:v>5.3541834159188237</c:v>
                </c:pt>
                <c:pt idx="151">
                  <c:v>5.1868651841713609</c:v>
                </c:pt>
                <c:pt idx="152">
                  <c:v>5.019546952423898</c:v>
                </c:pt>
                <c:pt idx="153">
                  <c:v>4.7685696048027024</c:v>
                </c:pt>
                <c:pt idx="154">
                  <c:v>4.6012513730552396</c:v>
                </c:pt>
                <c:pt idx="155">
                  <c:v>4.4339331413077758</c:v>
                </c:pt>
                <c:pt idx="156">
                  <c:v>4.350274025434044</c:v>
                </c:pt>
                <c:pt idx="157">
                  <c:v>4.1829557936865811</c:v>
                </c:pt>
                <c:pt idx="158">
                  <c:v>4.0156375619391182</c:v>
                </c:pt>
                <c:pt idx="159">
                  <c:v>3.8483193301916545</c:v>
                </c:pt>
                <c:pt idx="160">
                  <c:v>3.7646602143179231</c:v>
                </c:pt>
                <c:pt idx="161">
                  <c:v>3.6810010984441912</c:v>
                </c:pt>
                <c:pt idx="162">
                  <c:v>3.5973419825704598</c:v>
                </c:pt>
                <c:pt idx="163">
                  <c:v>3.5136828666967284</c:v>
                </c:pt>
                <c:pt idx="164">
                  <c:v>3.4300237508229969</c:v>
                </c:pt>
                <c:pt idx="165">
                  <c:v>3.3463646349492646</c:v>
                </c:pt>
                <c:pt idx="166">
                  <c:v>3.2627055190755332</c:v>
                </c:pt>
                <c:pt idx="167">
                  <c:v>3.17904640320180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14A-45E8-87A1-7BD2345ADB46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0,95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F$2:$F$169</c:f>
              <c:numCache>
                <c:formatCode>General</c:formatCode>
                <c:ptCount val="168"/>
                <c:pt idx="119">
                  <c:v>28.025803817700091</c:v>
                </c:pt>
                <c:pt idx="120">
                  <c:v>26.603598847846659</c:v>
                </c:pt>
                <c:pt idx="121">
                  <c:v>25.432371225614414</c:v>
                </c:pt>
                <c:pt idx="122">
                  <c:v>24.512120951003368</c:v>
                </c:pt>
                <c:pt idx="123">
                  <c:v>23.75918890813978</c:v>
                </c:pt>
                <c:pt idx="124">
                  <c:v>23.173575097023662</c:v>
                </c:pt>
                <c:pt idx="125">
                  <c:v>22.838938633528734</c:v>
                </c:pt>
                <c:pt idx="126">
                  <c:v>22.671620401781269</c:v>
                </c:pt>
                <c:pt idx="127">
                  <c:v>22.336983938286345</c:v>
                </c:pt>
                <c:pt idx="128">
                  <c:v>21.918688358917684</c:v>
                </c:pt>
                <c:pt idx="129">
                  <c:v>21.500392779549028</c:v>
                </c:pt>
                <c:pt idx="130">
                  <c:v>21.1657563160541</c:v>
                </c:pt>
                <c:pt idx="131">
                  <c:v>20.914778968432906</c:v>
                </c:pt>
                <c:pt idx="132">
                  <c:v>20.663801620811711</c:v>
                </c:pt>
                <c:pt idx="133">
                  <c:v>20.412824273190516</c:v>
                </c:pt>
                <c:pt idx="134">
                  <c:v>20.078187809695592</c:v>
                </c:pt>
                <c:pt idx="135">
                  <c:v>19.827210462074394</c:v>
                </c:pt>
                <c:pt idx="136">
                  <c:v>19.576233114453199</c:v>
                </c:pt>
                <c:pt idx="137">
                  <c:v>19.408914882705737</c:v>
                </c:pt>
                <c:pt idx="138">
                  <c:v>19.157937535084542</c:v>
                </c:pt>
                <c:pt idx="139">
                  <c:v>18.906960187463348</c:v>
                </c:pt>
                <c:pt idx="140">
                  <c:v>18.655982839842153</c:v>
                </c:pt>
                <c:pt idx="141">
                  <c:v>18.405005492220958</c:v>
                </c:pt>
                <c:pt idx="142">
                  <c:v>18.15402814459976</c:v>
                </c:pt>
                <c:pt idx="143">
                  <c:v>17.903050796978569</c:v>
                </c:pt>
                <c:pt idx="144">
                  <c:v>17.652073449357374</c:v>
                </c:pt>
                <c:pt idx="145">
                  <c:v>17.484755217609909</c:v>
                </c:pt>
                <c:pt idx="146">
                  <c:v>17.233777869988714</c:v>
                </c:pt>
                <c:pt idx="147">
                  <c:v>16.982800522367519</c:v>
                </c:pt>
                <c:pt idx="148">
                  <c:v>16.815482290620057</c:v>
                </c:pt>
                <c:pt idx="149">
                  <c:v>16.564504942998859</c:v>
                </c:pt>
                <c:pt idx="150">
                  <c:v>16.397186711251397</c:v>
                </c:pt>
                <c:pt idx="151">
                  <c:v>16.229868479503935</c:v>
                </c:pt>
                <c:pt idx="152">
                  <c:v>15.97889113188274</c:v>
                </c:pt>
                <c:pt idx="153">
                  <c:v>15.811572900135276</c:v>
                </c:pt>
                <c:pt idx="154">
                  <c:v>15.644254668387815</c:v>
                </c:pt>
                <c:pt idx="155">
                  <c:v>15.393277320766618</c:v>
                </c:pt>
                <c:pt idx="156">
                  <c:v>15.225959089019156</c:v>
                </c:pt>
                <c:pt idx="157">
                  <c:v>15.058640857271692</c:v>
                </c:pt>
                <c:pt idx="158">
                  <c:v>14.807663509650498</c:v>
                </c:pt>
                <c:pt idx="159">
                  <c:v>14.640345277903034</c:v>
                </c:pt>
                <c:pt idx="160">
                  <c:v>14.473027046155572</c:v>
                </c:pt>
                <c:pt idx="161">
                  <c:v>14.305708814408108</c:v>
                </c:pt>
                <c:pt idx="162">
                  <c:v>14.138390582660646</c:v>
                </c:pt>
                <c:pt idx="163">
                  <c:v>13.971072350913181</c:v>
                </c:pt>
                <c:pt idx="164">
                  <c:v>13.803754119165717</c:v>
                </c:pt>
                <c:pt idx="165">
                  <c:v>13.720095003291988</c:v>
                </c:pt>
                <c:pt idx="166">
                  <c:v>13.552776771544522</c:v>
                </c:pt>
                <c:pt idx="167">
                  <c:v>13.3854585397970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14A-45E8-87A1-7BD2345ADB46}"/>
            </c:ext>
          </c:extLst>
        </c:ser>
        <c:ser>
          <c:idx val="5"/>
          <c:order val="4"/>
          <c:tx>
            <c:strRef>
              <c:f>Sheet1!$G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G$2:$G$169</c:f>
              <c:numCache>
                <c:formatCode>General</c:formatCode>
                <c:ptCount val="168"/>
                <c:pt idx="119">
                  <c:v>28.025803817700091</c:v>
                </c:pt>
                <c:pt idx="120">
                  <c:v>26.938235311341582</c:v>
                </c:pt>
                <c:pt idx="121">
                  <c:v>26.268962384351731</c:v>
                </c:pt>
                <c:pt idx="122">
                  <c:v>25.9343259208568</c:v>
                </c:pt>
                <c:pt idx="123">
                  <c:v>25.850666804983071</c:v>
                </c:pt>
                <c:pt idx="124">
                  <c:v>26.017985036730536</c:v>
                </c:pt>
                <c:pt idx="125">
                  <c:v>26.519939731972922</c:v>
                </c:pt>
                <c:pt idx="126">
                  <c:v>27.356530890710239</c:v>
                </c:pt>
                <c:pt idx="127">
                  <c:v>27.858485585952632</c:v>
                </c:pt>
                <c:pt idx="128">
                  <c:v>28.276781165321292</c:v>
                </c:pt>
                <c:pt idx="129">
                  <c:v>28.695076744689946</c:v>
                </c:pt>
                <c:pt idx="130">
                  <c:v>29.280690555806068</c:v>
                </c:pt>
                <c:pt idx="131">
                  <c:v>29.949963482795919</c:v>
                </c:pt>
                <c:pt idx="132">
                  <c:v>30.702895525659507</c:v>
                </c:pt>
                <c:pt idx="133">
                  <c:v>31.372168452649358</c:v>
                </c:pt>
                <c:pt idx="134">
                  <c:v>31.95778226376548</c:v>
                </c:pt>
                <c:pt idx="135">
                  <c:v>32.543396074881606</c:v>
                </c:pt>
                <c:pt idx="136">
                  <c:v>33.212669001871454</c:v>
                </c:pt>
                <c:pt idx="137">
                  <c:v>33.881941928861309</c:v>
                </c:pt>
                <c:pt idx="138">
                  <c:v>34.634873971724893</c:v>
                </c:pt>
                <c:pt idx="139">
                  <c:v>35.304146898714748</c:v>
                </c:pt>
                <c:pt idx="140">
                  <c:v>35.973419825704596</c:v>
                </c:pt>
                <c:pt idx="141">
                  <c:v>36.642692752694451</c:v>
                </c:pt>
                <c:pt idx="142">
                  <c:v>37.395624795558035</c:v>
                </c:pt>
                <c:pt idx="143">
                  <c:v>38.148556838421619</c:v>
                </c:pt>
                <c:pt idx="144">
                  <c:v>38.985147997158933</c:v>
                </c:pt>
                <c:pt idx="145">
                  <c:v>39.738080040022524</c:v>
                </c:pt>
                <c:pt idx="146">
                  <c:v>40.574671198759837</c:v>
                </c:pt>
                <c:pt idx="147">
                  <c:v>41.411262357497158</c:v>
                </c:pt>
                <c:pt idx="148">
                  <c:v>42.247853516234464</c:v>
                </c:pt>
                <c:pt idx="149">
                  <c:v>43.084444674971785</c:v>
                </c:pt>
                <c:pt idx="150">
                  <c:v>44.004694949582834</c:v>
                </c:pt>
                <c:pt idx="151">
                  <c:v>44.841286108320155</c:v>
                </c:pt>
                <c:pt idx="152">
                  <c:v>45.761536382931197</c:v>
                </c:pt>
                <c:pt idx="153">
                  <c:v>46.598127541668511</c:v>
                </c:pt>
                <c:pt idx="154">
                  <c:v>47.51837781627956</c:v>
                </c:pt>
                <c:pt idx="155">
                  <c:v>48.522287206764339</c:v>
                </c:pt>
                <c:pt idx="156">
                  <c:v>49.442537481375389</c:v>
                </c:pt>
                <c:pt idx="157">
                  <c:v>50.362787755986439</c:v>
                </c:pt>
                <c:pt idx="158">
                  <c:v>51.366697146471211</c:v>
                </c:pt>
                <c:pt idx="159">
                  <c:v>52.370606536956004</c:v>
                </c:pt>
                <c:pt idx="160">
                  <c:v>53.458175043314512</c:v>
                </c:pt>
                <c:pt idx="161">
                  <c:v>54.462084433799284</c:v>
                </c:pt>
                <c:pt idx="162">
                  <c:v>55.465993824284062</c:v>
                </c:pt>
                <c:pt idx="163">
                  <c:v>56.553562330642585</c:v>
                </c:pt>
                <c:pt idx="164">
                  <c:v>57.641130837001093</c:v>
                </c:pt>
                <c:pt idx="165">
                  <c:v>58.728699343359601</c:v>
                </c:pt>
                <c:pt idx="166">
                  <c:v>59.816267849718116</c:v>
                </c:pt>
                <c:pt idx="167">
                  <c:v>60.9038363560766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31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2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B$155:$B$322</c:f>
              <c:numCache>
                <c:formatCode>0</c:formatCode>
                <c:ptCount val="168"/>
                <c:pt idx="0">
                  <c:v>488</c:v>
                </c:pt>
                <c:pt idx="1">
                  <c:v>512</c:v>
                </c:pt>
                <c:pt idx="2">
                  <c:v>406</c:v>
                </c:pt>
                <c:pt idx="3">
                  <c:v>330</c:v>
                </c:pt>
                <c:pt idx="4">
                  <c:v>387</c:v>
                </c:pt>
                <c:pt idx="5">
                  <c:v>87</c:v>
                </c:pt>
                <c:pt idx="6">
                  <c:v>83</c:v>
                </c:pt>
                <c:pt idx="7">
                  <c:v>382</c:v>
                </c:pt>
                <c:pt idx="8">
                  <c:v>490</c:v>
                </c:pt>
                <c:pt idx="9">
                  <c:v>411</c:v>
                </c:pt>
                <c:pt idx="10">
                  <c:v>374</c:v>
                </c:pt>
                <c:pt idx="11">
                  <c:v>410</c:v>
                </c:pt>
                <c:pt idx="12">
                  <c:v>98</c:v>
                </c:pt>
                <c:pt idx="13">
                  <c:v>99</c:v>
                </c:pt>
                <c:pt idx="14">
                  <c:v>558</c:v>
                </c:pt>
                <c:pt idx="15">
                  <c:v>498</c:v>
                </c:pt>
                <c:pt idx="16">
                  <c:v>438</c:v>
                </c:pt>
                <c:pt idx="17">
                  <c:v>442</c:v>
                </c:pt>
                <c:pt idx="18">
                  <c:v>332</c:v>
                </c:pt>
                <c:pt idx="19">
                  <c:v>435</c:v>
                </c:pt>
                <c:pt idx="20">
                  <c:v>37</c:v>
                </c:pt>
                <c:pt idx="21">
                  <c:v>634</c:v>
                </c:pt>
                <c:pt idx="22">
                  <c:v>661</c:v>
                </c:pt>
                <c:pt idx="23">
                  <c:v>597</c:v>
                </c:pt>
                <c:pt idx="24">
                  <c:v>395</c:v>
                </c:pt>
                <c:pt idx="25">
                  <c:v>886</c:v>
                </c:pt>
                <c:pt idx="26">
                  <c:v>191</c:v>
                </c:pt>
                <c:pt idx="27">
                  <c:v>52</c:v>
                </c:pt>
                <c:pt idx="28">
                  <c:v>712</c:v>
                </c:pt>
                <c:pt idx="29">
                  <c:v>771</c:v>
                </c:pt>
                <c:pt idx="30">
                  <c:v>677</c:v>
                </c:pt>
                <c:pt idx="31">
                  <c:v>654</c:v>
                </c:pt>
                <c:pt idx="32">
                  <c:v>553</c:v>
                </c:pt>
                <c:pt idx="33">
                  <c:v>446</c:v>
                </c:pt>
                <c:pt idx="34">
                  <c:v>161</c:v>
                </c:pt>
                <c:pt idx="35">
                  <c:v>613</c:v>
                </c:pt>
                <c:pt idx="36">
                  <c:v>770</c:v>
                </c:pt>
                <c:pt idx="37">
                  <c:v>756</c:v>
                </c:pt>
                <c:pt idx="38">
                  <c:v>659</c:v>
                </c:pt>
                <c:pt idx="39">
                  <c:v>832</c:v>
                </c:pt>
                <c:pt idx="40">
                  <c:v>190</c:v>
                </c:pt>
                <c:pt idx="41">
                  <c:v>150</c:v>
                </c:pt>
                <c:pt idx="42">
                  <c:v>675</c:v>
                </c:pt>
                <c:pt idx="43">
                  <c:v>685</c:v>
                </c:pt>
                <c:pt idx="44">
                  <c:v>706</c:v>
                </c:pt>
                <c:pt idx="45">
                  <c:v>615</c:v>
                </c:pt>
                <c:pt idx="46">
                  <c:v>655</c:v>
                </c:pt>
                <c:pt idx="47">
                  <c:v>122</c:v>
                </c:pt>
                <c:pt idx="48">
                  <c:v>143</c:v>
                </c:pt>
                <c:pt idx="49">
                  <c:v>570</c:v>
                </c:pt>
                <c:pt idx="50">
                  <c:v>622</c:v>
                </c:pt>
                <c:pt idx="51">
                  <c:v>557</c:v>
                </c:pt>
                <c:pt idx="52">
                  <c:v>365</c:v>
                </c:pt>
                <c:pt idx="53">
                  <c:v>339</c:v>
                </c:pt>
                <c:pt idx="54">
                  <c:v>146</c:v>
                </c:pt>
                <c:pt idx="55">
                  <c:v>73</c:v>
                </c:pt>
                <c:pt idx="56">
                  <c:v>734</c:v>
                </c:pt>
                <c:pt idx="57">
                  <c:v>434</c:v>
                </c:pt>
                <c:pt idx="58">
                  <c:v>456</c:v>
                </c:pt>
                <c:pt idx="59">
                  <c:v>438</c:v>
                </c:pt>
                <c:pt idx="60">
                  <c:v>225</c:v>
                </c:pt>
                <c:pt idx="61">
                  <c:v>24</c:v>
                </c:pt>
                <c:pt idx="62">
                  <c:v>80</c:v>
                </c:pt>
                <c:pt idx="63">
                  <c:v>28</c:v>
                </c:pt>
                <c:pt idx="64">
                  <c:v>464</c:v>
                </c:pt>
                <c:pt idx="65">
                  <c:v>418</c:v>
                </c:pt>
                <c:pt idx="66">
                  <c:v>492</c:v>
                </c:pt>
                <c:pt idx="67">
                  <c:v>384</c:v>
                </c:pt>
                <c:pt idx="68">
                  <c:v>63</c:v>
                </c:pt>
                <c:pt idx="69">
                  <c:v>31</c:v>
                </c:pt>
                <c:pt idx="70">
                  <c:v>406</c:v>
                </c:pt>
                <c:pt idx="71">
                  <c:v>325</c:v>
                </c:pt>
                <c:pt idx="72">
                  <c:v>342</c:v>
                </c:pt>
                <c:pt idx="73">
                  <c:v>187</c:v>
                </c:pt>
                <c:pt idx="74">
                  <c:v>259</c:v>
                </c:pt>
                <c:pt idx="75">
                  <c:v>47</c:v>
                </c:pt>
                <c:pt idx="76">
                  <c:v>46</c:v>
                </c:pt>
                <c:pt idx="77">
                  <c:v>316</c:v>
                </c:pt>
                <c:pt idx="78">
                  <c:v>282</c:v>
                </c:pt>
                <c:pt idx="79">
                  <c:v>219</c:v>
                </c:pt>
                <c:pt idx="80">
                  <c:v>162</c:v>
                </c:pt>
                <c:pt idx="81">
                  <c:v>252</c:v>
                </c:pt>
                <c:pt idx="82">
                  <c:v>49</c:v>
                </c:pt>
                <c:pt idx="83">
                  <c:v>25</c:v>
                </c:pt>
                <c:pt idx="84">
                  <c:v>239</c:v>
                </c:pt>
                <c:pt idx="85">
                  <c:v>222</c:v>
                </c:pt>
                <c:pt idx="86">
                  <c:v>195</c:v>
                </c:pt>
                <c:pt idx="87">
                  <c:v>141</c:v>
                </c:pt>
                <c:pt idx="88">
                  <c:v>128</c:v>
                </c:pt>
                <c:pt idx="89">
                  <c:v>32</c:v>
                </c:pt>
                <c:pt idx="90">
                  <c:v>39</c:v>
                </c:pt>
                <c:pt idx="91">
                  <c:v>178</c:v>
                </c:pt>
                <c:pt idx="92">
                  <c:v>109</c:v>
                </c:pt>
                <c:pt idx="93">
                  <c:v>117</c:v>
                </c:pt>
                <c:pt idx="94">
                  <c:v>73</c:v>
                </c:pt>
                <c:pt idx="95">
                  <c:v>73</c:v>
                </c:pt>
                <c:pt idx="96">
                  <c:v>6</c:v>
                </c:pt>
                <c:pt idx="97">
                  <c:v>29</c:v>
                </c:pt>
                <c:pt idx="98">
                  <c:v>139</c:v>
                </c:pt>
                <c:pt idx="99">
                  <c:v>97</c:v>
                </c:pt>
                <c:pt idx="100">
                  <c:v>89</c:v>
                </c:pt>
                <c:pt idx="101">
                  <c:v>63</c:v>
                </c:pt>
                <c:pt idx="102">
                  <c:v>59</c:v>
                </c:pt>
                <c:pt idx="103">
                  <c:v>20</c:v>
                </c:pt>
                <c:pt idx="104">
                  <c:v>21</c:v>
                </c:pt>
                <c:pt idx="105">
                  <c:v>102</c:v>
                </c:pt>
                <c:pt idx="106">
                  <c:v>87</c:v>
                </c:pt>
                <c:pt idx="107">
                  <c:v>82</c:v>
                </c:pt>
                <c:pt idx="108">
                  <c:v>54</c:v>
                </c:pt>
                <c:pt idx="109">
                  <c:v>47</c:v>
                </c:pt>
                <c:pt idx="110">
                  <c:v>13</c:v>
                </c:pt>
                <c:pt idx="111">
                  <c:v>27</c:v>
                </c:pt>
                <c:pt idx="112">
                  <c:v>59</c:v>
                </c:pt>
                <c:pt idx="113">
                  <c:v>60</c:v>
                </c:pt>
                <c:pt idx="114">
                  <c:v>62</c:v>
                </c:pt>
                <c:pt idx="115">
                  <c:v>36</c:v>
                </c:pt>
                <c:pt idx="116">
                  <c:v>22</c:v>
                </c:pt>
                <c:pt idx="117">
                  <c:v>21</c:v>
                </c:pt>
                <c:pt idx="118">
                  <c:v>12</c:v>
                </c:pt>
                <c:pt idx="119">
                  <c:v>39</c:v>
                </c:pt>
                <c:pt idx="120">
                  <c:v>25</c:v>
                </c:pt>
                <c:pt idx="121">
                  <c:v>18</c:v>
                </c:pt>
                <c:pt idx="122">
                  <c:v>19</c:v>
                </c:pt>
                <c:pt idx="123">
                  <c:v>12</c:v>
                </c:pt>
                <c:pt idx="124">
                  <c:v>10</c:v>
                </c:pt>
                <c:pt idx="125">
                  <c:v>6</c:v>
                </c:pt>
                <c:pt idx="126">
                  <c:v>16</c:v>
                </c:pt>
                <c:pt idx="127">
                  <c:v>21</c:v>
                </c:pt>
                <c:pt idx="128">
                  <c:v>14</c:v>
                </c:pt>
                <c:pt idx="129">
                  <c:v>8</c:v>
                </c:pt>
                <c:pt idx="130">
                  <c:v>12</c:v>
                </c:pt>
                <c:pt idx="131">
                  <c:v>2</c:v>
                </c:pt>
                <c:pt idx="132">
                  <c:v>6</c:v>
                </c:pt>
                <c:pt idx="133">
                  <c:v>9</c:v>
                </c:pt>
                <c:pt idx="134">
                  <c:v>7</c:v>
                </c:pt>
                <c:pt idx="135">
                  <c:v>4</c:v>
                </c:pt>
                <c:pt idx="136">
                  <c:v>4</c:v>
                </c:pt>
                <c:pt idx="137">
                  <c:v>6</c:v>
                </c:pt>
                <c:pt idx="138">
                  <c:v>1</c:v>
                </c:pt>
                <c:pt idx="139">
                  <c:v>1</c:v>
                </c:pt>
                <c:pt idx="140">
                  <c:v>4</c:v>
                </c:pt>
                <c:pt idx="141">
                  <c:v>0</c:v>
                </c:pt>
                <c:pt idx="142">
                  <c:v>4</c:v>
                </c:pt>
                <c:pt idx="143">
                  <c:v>3</c:v>
                </c:pt>
                <c:pt idx="144">
                  <c:v>1</c:v>
                </c:pt>
                <c:pt idx="145">
                  <c:v>1</c:v>
                </c:pt>
                <c:pt idx="14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C$155:$C$322</c:f>
              <c:numCache>
                <c:formatCode>General</c:formatCode>
                <c:ptCount val="16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14A-45E8-87A1-7BD2345ADB4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70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D$155:$D$322</c:f>
              <c:numCache>
                <c:formatCode>General</c:formatCode>
                <c:ptCount val="168"/>
                <c:pt idx="119">
                  <c:v>29</c:v>
                </c:pt>
                <c:pt idx="120">
                  <c:v>28</c:v>
                </c:pt>
                <c:pt idx="121">
                  <c:v>26</c:v>
                </c:pt>
                <c:pt idx="122">
                  <c:v>25</c:v>
                </c:pt>
                <c:pt idx="123">
                  <c:v>23</c:v>
                </c:pt>
                <c:pt idx="124">
                  <c:v>22</c:v>
                </c:pt>
                <c:pt idx="125">
                  <c:v>21</c:v>
                </c:pt>
                <c:pt idx="126">
                  <c:v>20</c:v>
                </c:pt>
                <c:pt idx="127">
                  <c:v>19</c:v>
                </c:pt>
                <c:pt idx="128">
                  <c:v>18</c:v>
                </c:pt>
                <c:pt idx="129">
                  <c:v>17</c:v>
                </c:pt>
                <c:pt idx="130">
                  <c:v>16</c:v>
                </c:pt>
                <c:pt idx="131">
                  <c:v>15</c:v>
                </c:pt>
                <c:pt idx="132">
                  <c:v>14</c:v>
                </c:pt>
                <c:pt idx="133">
                  <c:v>13</c:v>
                </c:pt>
                <c:pt idx="134">
                  <c:v>13</c:v>
                </c:pt>
                <c:pt idx="135">
                  <c:v>12</c:v>
                </c:pt>
                <c:pt idx="136">
                  <c:v>11</c:v>
                </c:pt>
                <c:pt idx="137">
                  <c:v>11</c:v>
                </c:pt>
                <c:pt idx="138">
                  <c:v>10</c:v>
                </c:pt>
                <c:pt idx="139">
                  <c:v>10</c:v>
                </c:pt>
                <c:pt idx="140">
                  <c:v>9</c:v>
                </c:pt>
                <c:pt idx="141">
                  <c:v>9</c:v>
                </c:pt>
                <c:pt idx="142">
                  <c:v>9</c:v>
                </c:pt>
                <c:pt idx="143">
                  <c:v>8</c:v>
                </c:pt>
                <c:pt idx="144">
                  <c:v>8</c:v>
                </c:pt>
                <c:pt idx="145">
                  <c:v>8</c:v>
                </c:pt>
                <c:pt idx="146">
                  <c:v>7</c:v>
                </c:pt>
                <c:pt idx="147">
                  <c:v>7</c:v>
                </c:pt>
                <c:pt idx="148">
                  <c:v>7</c:v>
                </c:pt>
                <c:pt idx="149">
                  <c:v>6</c:v>
                </c:pt>
                <c:pt idx="150">
                  <c:v>6</c:v>
                </c:pt>
                <c:pt idx="151">
                  <c:v>6</c:v>
                </c:pt>
                <c:pt idx="152">
                  <c:v>6</c:v>
                </c:pt>
                <c:pt idx="153">
                  <c:v>5</c:v>
                </c:pt>
                <c:pt idx="154">
                  <c:v>5</c:v>
                </c:pt>
                <c:pt idx="155">
                  <c:v>5</c:v>
                </c:pt>
                <c:pt idx="156">
                  <c:v>5</c:v>
                </c:pt>
                <c:pt idx="157">
                  <c:v>5</c:v>
                </c:pt>
                <c:pt idx="158">
                  <c:v>5</c:v>
                </c:pt>
                <c:pt idx="159">
                  <c:v>5</c:v>
                </c:pt>
                <c:pt idx="160">
                  <c:v>4</c:v>
                </c:pt>
                <c:pt idx="161">
                  <c:v>4</c:v>
                </c:pt>
                <c:pt idx="162">
                  <c:v>4</c:v>
                </c:pt>
                <c:pt idx="163">
                  <c:v>4</c:v>
                </c:pt>
                <c:pt idx="164">
                  <c:v>4</c:v>
                </c:pt>
                <c:pt idx="165">
                  <c:v>4</c:v>
                </c:pt>
                <c:pt idx="166">
                  <c:v>4</c:v>
                </c:pt>
                <c:pt idx="167">
                  <c:v>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14A-45E8-87A1-7BD2345ADB46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0,90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F$155:$F$322</c:f>
              <c:numCache>
                <c:formatCode>General</c:formatCode>
                <c:ptCount val="168"/>
                <c:pt idx="119">
                  <c:v>29</c:v>
                </c:pt>
                <c:pt idx="120">
                  <c:v>31</c:v>
                </c:pt>
                <c:pt idx="121">
                  <c:v>31</c:v>
                </c:pt>
                <c:pt idx="122">
                  <c:v>30</c:v>
                </c:pt>
                <c:pt idx="123">
                  <c:v>29</c:v>
                </c:pt>
                <c:pt idx="124">
                  <c:v>28</c:v>
                </c:pt>
                <c:pt idx="125">
                  <c:v>28</c:v>
                </c:pt>
                <c:pt idx="126">
                  <c:v>28</c:v>
                </c:pt>
                <c:pt idx="127">
                  <c:v>28</c:v>
                </c:pt>
                <c:pt idx="128">
                  <c:v>27</c:v>
                </c:pt>
                <c:pt idx="129">
                  <c:v>27</c:v>
                </c:pt>
                <c:pt idx="130">
                  <c:v>26</c:v>
                </c:pt>
                <c:pt idx="131">
                  <c:v>26</c:v>
                </c:pt>
                <c:pt idx="132">
                  <c:v>26</c:v>
                </c:pt>
                <c:pt idx="133">
                  <c:v>25</c:v>
                </c:pt>
                <c:pt idx="134">
                  <c:v>25</c:v>
                </c:pt>
                <c:pt idx="135">
                  <c:v>25</c:v>
                </c:pt>
                <c:pt idx="136">
                  <c:v>24</c:v>
                </c:pt>
                <c:pt idx="137">
                  <c:v>24</c:v>
                </c:pt>
                <c:pt idx="138">
                  <c:v>24</c:v>
                </c:pt>
                <c:pt idx="139">
                  <c:v>23</c:v>
                </c:pt>
                <c:pt idx="140">
                  <c:v>23</c:v>
                </c:pt>
                <c:pt idx="141">
                  <c:v>23</c:v>
                </c:pt>
                <c:pt idx="142">
                  <c:v>22</c:v>
                </c:pt>
                <c:pt idx="143">
                  <c:v>22</c:v>
                </c:pt>
                <c:pt idx="144">
                  <c:v>22</c:v>
                </c:pt>
                <c:pt idx="145">
                  <c:v>22</c:v>
                </c:pt>
                <c:pt idx="146">
                  <c:v>21</c:v>
                </c:pt>
                <c:pt idx="147">
                  <c:v>21</c:v>
                </c:pt>
                <c:pt idx="148">
                  <c:v>21</c:v>
                </c:pt>
                <c:pt idx="149">
                  <c:v>21</c:v>
                </c:pt>
                <c:pt idx="150">
                  <c:v>20</c:v>
                </c:pt>
                <c:pt idx="151">
                  <c:v>20</c:v>
                </c:pt>
                <c:pt idx="152">
                  <c:v>20</c:v>
                </c:pt>
                <c:pt idx="153">
                  <c:v>20</c:v>
                </c:pt>
                <c:pt idx="154">
                  <c:v>19</c:v>
                </c:pt>
                <c:pt idx="155">
                  <c:v>19</c:v>
                </c:pt>
                <c:pt idx="156">
                  <c:v>19</c:v>
                </c:pt>
                <c:pt idx="157">
                  <c:v>19</c:v>
                </c:pt>
                <c:pt idx="158">
                  <c:v>18</c:v>
                </c:pt>
                <c:pt idx="159">
                  <c:v>18</c:v>
                </c:pt>
                <c:pt idx="160">
                  <c:v>18</c:v>
                </c:pt>
                <c:pt idx="161">
                  <c:v>18</c:v>
                </c:pt>
                <c:pt idx="162">
                  <c:v>18</c:v>
                </c:pt>
                <c:pt idx="163">
                  <c:v>17</c:v>
                </c:pt>
                <c:pt idx="164">
                  <c:v>17</c:v>
                </c:pt>
                <c:pt idx="165">
                  <c:v>17</c:v>
                </c:pt>
                <c:pt idx="166">
                  <c:v>17</c:v>
                </c:pt>
                <c:pt idx="167">
                  <c:v>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14A-45E8-87A1-7BD2345ADB46}"/>
            </c:ext>
          </c:extLst>
        </c:ser>
        <c:ser>
          <c:idx val="5"/>
          <c:order val="4"/>
          <c:tx>
            <c:strRef>
              <c:f>Sheet1!$G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G$155:$G$322</c:f>
              <c:numCache>
                <c:formatCode>General</c:formatCode>
                <c:ptCount val="168"/>
                <c:pt idx="119">
                  <c:v>29</c:v>
                </c:pt>
                <c:pt idx="120">
                  <c:v>34</c:v>
                </c:pt>
                <c:pt idx="121">
                  <c:v>35</c:v>
                </c:pt>
                <c:pt idx="122">
                  <c:v>35</c:v>
                </c:pt>
                <c:pt idx="123">
                  <c:v>34</c:v>
                </c:pt>
                <c:pt idx="124">
                  <c:v>35</c:v>
                </c:pt>
                <c:pt idx="125">
                  <c:v>36</c:v>
                </c:pt>
                <c:pt idx="126">
                  <c:v>37</c:v>
                </c:pt>
                <c:pt idx="127">
                  <c:v>39</c:v>
                </c:pt>
                <c:pt idx="128">
                  <c:v>39</c:v>
                </c:pt>
                <c:pt idx="129">
                  <c:v>39</c:v>
                </c:pt>
                <c:pt idx="130">
                  <c:v>40</c:v>
                </c:pt>
                <c:pt idx="131">
                  <c:v>41</c:v>
                </c:pt>
                <c:pt idx="132">
                  <c:v>42</c:v>
                </c:pt>
                <c:pt idx="133">
                  <c:v>43</c:v>
                </c:pt>
                <c:pt idx="134">
                  <c:v>44</c:v>
                </c:pt>
                <c:pt idx="135">
                  <c:v>44</c:v>
                </c:pt>
                <c:pt idx="136">
                  <c:v>45</c:v>
                </c:pt>
                <c:pt idx="137">
                  <c:v>46</c:v>
                </c:pt>
                <c:pt idx="138">
                  <c:v>48</c:v>
                </c:pt>
                <c:pt idx="139">
                  <c:v>49</c:v>
                </c:pt>
                <c:pt idx="140">
                  <c:v>49</c:v>
                </c:pt>
                <c:pt idx="141">
                  <c:v>50</c:v>
                </c:pt>
                <c:pt idx="142">
                  <c:v>51</c:v>
                </c:pt>
                <c:pt idx="143">
                  <c:v>52</c:v>
                </c:pt>
                <c:pt idx="144">
                  <c:v>54</c:v>
                </c:pt>
                <c:pt idx="145">
                  <c:v>55</c:v>
                </c:pt>
                <c:pt idx="146">
                  <c:v>56</c:v>
                </c:pt>
                <c:pt idx="147">
                  <c:v>57</c:v>
                </c:pt>
                <c:pt idx="148">
                  <c:v>58</c:v>
                </c:pt>
                <c:pt idx="149">
                  <c:v>59</c:v>
                </c:pt>
                <c:pt idx="150">
                  <c:v>60</c:v>
                </c:pt>
                <c:pt idx="151">
                  <c:v>61</c:v>
                </c:pt>
                <c:pt idx="152">
                  <c:v>63</c:v>
                </c:pt>
                <c:pt idx="153">
                  <c:v>64</c:v>
                </c:pt>
                <c:pt idx="154">
                  <c:v>65</c:v>
                </c:pt>
                <c:pt idx="155">
                  <c:v>66</c:v>
                </c:pt>
                <c:pt idx="156">
                  <c:v>68</c:v>
                </c:pt>
                <c:pt idx="157">
                  <c:v>69</c:v>
                </c:pt>
                <c:pt idx="158">
                  <c:v>70</c:v>
                </c:pt>
                <c:pt idx="159">
                  <c:v>72</c:v>
                </c:pt>
                <c:pt idx="160">
                  <c:v>73</c:v>
                </c:pt>
                <c:pt idx="161">
                  <c:v>74</c:v>
                </c:pt>
                <c:pt idx="162">
                  <c:v>76</c:v>
                </c:pt>
                <c:pt idx="163">
                  <c:v>77</c:v>
                </c:pt>
                <c:pt idx="164">
                  <c:v>79</c:v>
                </c:pt>
                <c:pt idx="165">
                  <c:v>80</c:v>
                </c:pt>
                <c:pt idx="166">
                  <c:v>82</c:v>
                </c:pt>
                <c:pt idx="167">
                  <c:v>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31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2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5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H$2:$H$169</c:f>
              <c:numCache>
                <c:formatCode>0</c:formatCode>
                <c:ptCount val="168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  <c:pt idx="126">
                  <c:v>100</c:v>
                </c:pt>
                <c:pt idx="127">
                  <c:v>100</c:v>
                </c:pt>
                <c:pt idx="128">
                  <c:v>100</c:v>
                </c:pt>
                <c:pt idx="129">
                  <c:v>100</c:v>
                </c:pt>
                <c:pt idx="130">
                  <c:v>100</c:v>
                </c:pt>
                <c:pt idx="131">
                  <c:v>100</c:v>
                </c:pt>
                <c:pt idx="132">
                  <c:v>100</c:v>
                </c:pt>
                <c:pt idx="133">
                  <c:v>100</c:v>
                </c:pt>
                <c:pt idx="134">
                  <c:v>100</c:v>
                </c:pt>
                <c:pt idx="135">
                  <c:v>100</c:v>
                </c:pt>
                <c:pt idx="136">
                  <c:v>100</c:v>
                </c:pt>
                <c:pt idx="137">
                  <c:v>100</c:v>
                </c:pt>
                <c:pt idx="138">
                  <c:v>100</c:v>
                </c:pt>
                <c:pt idx="139">
                  <c:v>100</c:v>
                </c:pt>
                <c:pt idx="140">
                  <c:v>100</c:v>
                </c:pt>
                <c:pt idx="141">
                  <c:v>100</c:v>
                </c:pt>
                <c:pt idx="142">
                  <c:v>100</c:v>
                </c:pt>
                <c:pt idx="143">
                  <c:v>100</c:v>
                </c:pt>
                <c:pt idx="144">
                  <c:v>100</c:v>
                </c:pt>
                <c:pt idx="145">
                  <c:v>100</c:v>
                </c:pt>
                <c:pt idx="146">
                  <c:v>100</c:v>
                </c:pt>
                <c:pt idx="147">
                  <c:v>100</c:v>
                </c:pt>
                <c:pt idx="148">
                  <c:v>100</c:v>
                </c:pt>
                <c:pt idx="149">
                  <c:v>100</c:v>
                </c:pt>
                <c:pt idx="150">
                  <c:v>100</c:v>
                </c:pt>
                <c:pt idx="151">
                  <c:v>100</c:v>
                </c:pt>
                <c:pt idx="152">
                  <c:v>100</c:v>
                </c:pt>
                <c:pt idx="153">
                  <c:v>100</c:v>
                </c:pt>
                <c:pt idx="154">
                  <c:v>100</c:v>
                </c:pt>
                <c:pt idx="155">
                  <c:v>100</c:v>
                </c:pt>
                <c:pt idx="156">
                  <c:v>100</c:v>
                </c:pt>
                <c:pt idx="157">
                  <c:v>100</c:v>
                </c:pt>
                <c:pt idx="158">
                  <c:v>100</c:v>
                </c:pt>
                <c:pt idx="159">
                  <c:v>100</c:v>
                </c:pt>
                <c:pt idx="160">
                  <c:v>100</c:v>
                </c:pt>
                <c:pt idx="161">
                  <c:v>100</c:v>
                </c:pt>
                <c:pt idx="162">
                  <c:v>100</c:v>
                </c:pt>
                <c:pt idx="163">
                  <c:v>100</c:v>
                </c:pt>
                <c:pt idx="164">
                  <c:v>100</c:v>
                </c:pt>
                <c:pt idx="165">
                  <c:v>100</c:v>
                </c:pt>
                <c:pt idx="166">
                  <c:v>100</c:v>
                </c:pt>
                <c:pt idx="167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EF5-483F-B422-4E0629062509}"/>
            </c:ext>
          </c:extLst>
        </c:ser>
        <c:ser>
          <c:idx val="7"/>
          <c:order val="6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rgbClr val="C2FFDF"/>
            </a:solidFill>
            <a:ln>
              <a:noFill/>
            </a:ln>
            <a:effectLst/>
          </c:spP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I$2:$I$169</c:f>
              <c:numCache>
                <c:formatCode>0</c:formatCode>
                <c:ptCount val="168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  <c:pt idx="79">
                  <c:v>50</c:v>
                </c:pt>
                <c:pt idx="80">
                  <c:v>50</c:v>
                </c:pt>
                <c:pt idx="81">
                  <c:v>50</c:v>
                </c:pt>
                <c:pt idx="82">
                  <c:v>50</c:v>
                </c:pt>
                <c:pt idx="83">
                  <c:v>50</c:v>
                </c:pt>
                <c:pt idx="84">
                  <c:v>50</c:v>
                </c:pt>
                <c:pt idx="85">
                  <c:v>50</c:v>
                </c:pt>
                <c:pt idx="86">
                  <c:v>50</c:v>
                </c:pt>
                <c:pt idx="87">
                  <c:v>50</c:v>
                </c:pt>
                <c:pt idx="88">
                  <c:v>50</c:v>
                </c:pt>
                <c:pt idx="89">
                  <c:v>50</c:v>
                </c:pt>
                <c:pt idx="90">
                  <c:v>50</c:v>
                </c:pt>
                <c:pt idx="91">
                  <c:v>50</c:v>
                </c:pt>
                <c:pt idx="92">
                  <c:v>50</c:v>
                </c:pt>
                <c:pt idx="93">
                  <c:v>50</c:v>
                </c:pt>
                <c:pt idx="94">
                  <c:v>50</c:v>
                </c:pt>
                <c:pt idx="95">
                  <c:v>50</c:v>
                </c:pt>
                <c:pt idx="96">
                  <c:v>50</c:v>
                </c:pt>
                <c:pt idx="97">
                  <c:v>50</c:v>
                </c:pt>
                <c:pt idx="98">
                  <c:v>50</c:v>
                </c:pt>
                <c:pt idx="99">
                  <c:v>50</c:v>
                </c:pt>
                <c:pt idx="100">
                  <c:v>50</c:v>
                </c:pt>
                <c:pt idx="101">
                  <c:v>50</c:v>
                </c:pt>
                <c:pt idx="102">
                  <c:v>50</c:v>
                </c:pt>
                <c:pt idx="103">
                  <c:v>50</c:v>
                </c:pt>
                <c:pt idx="104">
                  <c:v>50</c:v>
                </c:pt>
                <c:pt idx="105">
                  <c:v>50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  <c:pt idx="110">
                  <c:v>50</c:v>
                </c:pt>
                <c:pt idx="111">
                  <c:v>50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0</c:v>
                </c:pt>
                <c:pt idx="122">
                  <c:v>50</c:v>
                </c:pt>
                <c:pt idx="123">
                  <c:v>50</c:v>
                </c:pt>
                <c:pt idx="124">
                  <c:v>50</c:v>
                </c:pt>
                <c:pt idx="125">
                  <c:v>50</c:v>
                </c:pt>
                <c:pt idx="126">
                  <c:v>50</c:v>
                </c:pt>
                <c:pt idx="127">
                  <c:v>50</c:v>
                </c:pt>
                <c:pt idx="128">
                  <c:v>50</c:v>
                </c:pt>
                <c:pt idx="129">
                  <c:v>50</c:v>
                </c:pt>
                <c:pt idx="130">
                  <c:v>50</c:v>
                </c:pt>
                <c:pt idx="131">
                  <c:v>50</c:v>
                </c:pt>
                <c:pt idx="132">
                  <c:v>50</c:v>
                </c:pt>
                <c:pt idx="133">
                  <c:v>50</c:v>
                </c:pt>
                <c:pt idx="134">
                  <c:v>50</c:v>
                </c:pt>
                <c:pt idx="135">
                  <c:v>50</c:v>
                </c:pt>
                <c:pt idx="136">
                  <c:v>50</c:v>
                </c:pt>
                <c:pt idx="137">
                  <c:v>50</c:v>
                </c:pt>
                <c:pt idx="138">
                  <c:v>50</c:v>
                </c:pt>
                <c:pt idx="139">
                  <c:v>50</c:v>
                </c:pt>
                <c:pt idx="140">
                  <c:v>50</c:v>
                </c:pt>
                <c:pt idx="141">
                  <c:v>50</c:v>
                </c:pt>
                <c:pt idx="142">
                  <c:v>50</c:v>
                </c:pt>
                <c:pt idx="143">
                  <c:v>50</c:v>
                </c:pt>
                <c:pt idx="144">
                  <c:v>50</c:v>
                </c:pt>
                <c:pt idx="145">
                  <c:v>50</c:v>
                </c:pt>
                <c:pt idx="146">
                  <c:v>50</c:v>
                </c:pt>
                <c:pt idx="147">
                  <c:v>50</c:v>
                </c:pt>
                <c:pt idx="148">
                  <c:v>50</c:v>
                </c:pt>
                <c:pt idx="149">
                  <c:v>50</c:v>
                </c:pt>
                <c:pt idx="150">
                  <c:v>50</c:v>
                </c:pt>
                <c:pt idx="151">
                  <c:v>50</c:v>
                </c:pt>
                <c:pt idx="152">
                  <c:v>50</c:v>
                </c:pt>
                <c:pt idx="153">
                  <c:v>50</c:v>
                </c:pt>
                <c:pt idx="154">
                  <c:v>50</c:v>
                </c:pt>
                <c:pt idx="155">
                  <c:v>50</c:v>
                </c:pt>
                <c:pt idx="156">
                  <c:v>50</c:v>
                </c:pt>
                <c:pt idx="157">
                  <c:v>50</c:v>
                </c:pt>
                <c:pt idx="158">
                  <c:v>50</c:v>
                </c:pt>
                <c:pt idx="159">
                  <c:v>50</c:v>
                </c:pt>
                <c:pt idx="160">
                  <c:v>50</c:v>
                </c:pt>
                <c:pt idx="161">
                  <c:v>50</c:v>
                </c:pt>
                <c:pt idx="162">
                  <c:v>50</c:v>
                </c:pt>
                <c:pt idx="163">
                  <c:v>50</c:v>
                </c:pt>
                <c:pt idx="164">
                  <c:v>50</c:v>
                </c:pt>
                <c:pt idx="165">
                  <c:v>50</c:v>
                </c:pt>
                <c:pt idx="166">
                  <c:v>50</c:v>
                </c:pt>
                <c:pt idx="167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EF5-483F-B422-4E06290625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B$2:$B$169</c:f>
              <c:numCache>
                <c:formatCode>0</c:formatCode>
                <c:ptCount val="168"/>
                <c:pt idx="0">
                  <c:v>385.2363597146491</c:v>
                </c:pt>
                <c:pt idx="1">
                  <c:v>383.65037223126234</c:v>
                </c:pt>
                <c:pt idx="2">
                  <c:v>375.56183606598978</c:v>
                </c:pt>
                <c:pt idx="3">
                  <c:v>367.79049739739452</c:v>
                </c:pt>
                <c:pt idx="4">
                  <c:v>362.55673870221818</c:v>
                </c:pt>
                <c:pt idx="5">
                  <c:v>363.34973244391153</c:v>
                </c:pt>
                <c:pt idx="6">
                  <c:v>363.66692994058889</c:v>
                </c:pt>
                <c:pt idx="7">
                  <c:v>346.85546261668907</c:v>
                </c:pt>
                <c:pt idx="8">
                  <c:v>343.36629015323808</c:v>
                </c:pt>
                <c:pt idx="9">
                  <c:v>344.15928389493155</c:v>
                </c:pt>
                <c:pt idx="10">
                  <c:v>351.13762882183335</c:v>
                </c:pt>
                <c:pt idx="11">
                  <c:v>354.78540003362292</c:v>
                </c:pt>
                <c:pt idx="12">
                  <c:v>356.52998626534838</c:v>
                </c:pt>
                <c:pt idx="13">
                  <c:v>359.0675662387672</c:v>
                </c:pt>
                <c:pt idx="14">
                  <c:v>386.98094594637456</c:v>
                </c:pt>
                <c:pt idx="15">
                  <c:v>388.24973593308403</c:v>
                </c:pt>
                <c:pt idx="16">
                  <c:v>392.5319021382283</c:v>
                </c:pt>
                <c:pt idx="17">
                  <c:v>403.31661702525838</c:v>
                </c:pt>
                <c:pt idx="18">
                  <c:v>390.94591465484154</c:v>
                </c:pt>
                <c:pt idx="19">
                  <c:v>444.39369284497604</c:v>
                </c:pt>
                <c:pt idx="20">
                  <c:v>434.56057044797797</c:v>
                </c:pt>
                <c:pt idx="21">
                  <c:v>446.61407532171756</c:v>
                </c:pt>
                <c:pt idx="22">
                  <c:v>472.46567130092211</c:v>
                </c:pt>
                <c:pt idx="23">
                  <c:v>497.6828722867719</c:v>
                </c:pt>
                <c:pt idx="24">
                  <c:v>490.22873111485399</c:v>
                </c:pt>
                <c:pt idx="25">
                  <c:v>578.09243769448176</c:v>
                </c:pt>
                <c:pt idx="26">
                  <c:v>539.39434309984426</c:v>
                </c:pt>
                <c:pt idx="27">
                  <c:v>541.77332432492449</c:v>
                </c:pt>
                <c:pt idx="28">
                  <c:v>554.14402669534138</c:v>
                </c:pt>
                <c:pt idx="29">
                  <c:v>571.5898890125959</c:v>
                </c:pt>
                <c:pt idx="30">
                  <c:v>584.27778887969021</c:v>
                </c:pt>
                <c:pt idx="31">
                  <c:v>625.3548646994077</c:v>
                </c:pt>
                <c:pt idx="32">
                  <c:v>572.54148150262802</c:v>
                </c:pt>
                <c:pt idx="33">
                  <c:v>612.98416232899092</c:v>
                </c:pt>
                <c:pt idx="34">
                  <c:v>630.27142589790685</c:v>
                </c:pt>
                <c:pt idx="35">
                  <c:v>614.57014981237762</c:v>
                </c:pt>
                <c:pt idx="36">
                  <c:v>614.41155106403892</c:v>
                </c:pt>
                <c:pt idx="37">
                  <c:v>626.94085218279463</c:v>
                </c:pt>
                <c:pt idx="38">
                  <c:v>627.73384592448792</c:v>
                </c:pt>
                <c:pt idx="39">
                  <c:v>671.98289671097916</c:v>
                </c:pt>
                <c:pt idx="40">
                  <c:v>631.38161713627755</c:v>
                </c:pt>
                <c:pt idx="41">
                  <c:v>629.63703090455203</c:v>
                </c:pt>
                <c:pt idx="42">
                  <c:v>639.47015330155011</c:v>
                </c:pt>
                <c:pt idx="43">
                  <c:v>625.98925969276252</c:v>
                </c:pt>
                <c:pt idx="44">
                  <c:v>618.05932227582855</c:v>
                </c:pt>
                <c:pt idx="45">
                  <c:v>611.08097734892669</c:v>
                </c:pt>
                <c:pt idx="46">
                  <c:v>583.00899889298069</c:v>
                </c:pt>
                <c:pt idx="47">
                  <c:v>572.22428400595061</c:v>
                </c:pt>
                <c:pt idx="48">
                  <c:v>571.1140927675799</c:v>
                </c:pt>
                <c:pt idx="49">
                  <c:v>554.46122419201868</c:v>
                </c:pt>
                <c:pt idx="50">
                  <c:v>544.46950304668189</c:v>
                </c:pt>
                <c:pt idx="51">
                  <c:v>520.83828954421892</c:v>
                </c:pt>
                <c:pt idx="52">
                  <c:v>481.18860245954937</c:v>
                </c:pt>
                <c:pt idx="53">
                  <c:v>431.0713979845271</c:v>
                </c:pt>
                <c:pt idx="54">
                  <c:v>434.87776794465537</c:v>
                </c:pt>
                <c:pt idx="55">
                  <c:v>423.77585556094789</c:v>
                </c:pt>
                <c:pt idx="56">
                  <c:v>449.78605028849108</c:v>
                </c:pt>
                <c:pt idx="57">
                  <c:v>419.96948560081961</c:v>
                </c:pt>
                <c:pt idx="58">
                  <c:v>403.95101201861314</c:v>
                </c:pt>
                <c:pt idx="59">
                  <c:v>415.52872064733668</c:v>
                </c:pt>
                <c:pt idx="60">
                  <c:v>397.44846333672729</c:v>
                </c:pt>
                <c:pt idx="61">
                  <c:v>378.0994160394086</c:v>
                </c:pt>
                <c:pt idx="62">
                  <c:v>379.20960727777936</c:v>
                </c:pt>
                <c:pt idx="63">
                  <c:v>267.23889095067261</c:v>
                </c:pt>
                <c:pt idx="64">
                  <c:v>271.99685340083295</c:v>
                </c:pt>
                <c:pt idx="65">
                  <c:v>265.9701009639632</c:v>
                </c:pt>
                <c:pt idx="66">
                  <c:v>274.53443337425182</c:v>
                </c:pt>
                <c:pt idx="67">
                  <c:v>299.7516343601016</c:v>
                </c:pt>
                <c:pt idx="68">
                  <c:v>305.93698554531011</c:v>
                </c:pt>
                <c:pt idx="69">
                  <c:v>298.16564687671485</c:v>
                </c:pt>
                <c:pt idx="70">
                  <c:v>358.11597374873514</c:v>
                </c:pt>
                <c:pt idx="71">
                  <c:v>336.07074772965893</c:v>
                </c:pt>
                <c:pt idx="72">
                  <c:v>324.01724285591939</c:v>
                </c:pt>
                <c:pt idx="73">
                  <c:v>275.64462461262252</c:v>
                </c:pt>
                <c:pt idx="74">
                  <c:v>255.8197810702878</c:v>
                </c:pt>
                <c:pt idx="75">
                  <c:v>253.28220109686896</c:v>
                </c:pt>
                <c:pt idx="76">
                  <c:v>255.66118232194913</c:v>
                </c:pt>
                <c:pt idx="77">
                  <c:v>241.38729497146807</c:v>
                </c:pt>
                <c:pt idx="78">
                  <c:v>234.56754879290494</c:v>
                </c:pt>
                <c:pt idx="79">
                  <c:v>215.05990274724752</c:v>
                </c:pt>
                <c:pt idx="80">
                  <c:v>211.09493403878056</c:v>
                </c:pt>
                <c:pt idx="81">
                  <c:v>209.9847428004098</c:v>
                </c:pt>
                <c:pt idx="82">
                  <c:v>210.30194029708719</c:v>
                </c:pt>
                <c:pt idx="83">
                  <c:v>206.97136658197496</c:v>
                </c:pt>
                <c:pt idx="84">
                  <c:v>194.75926295989672</c:v>
                </c:pt>
                <c:pt idx="85">
                  <c:v>185.24333805957602</c:v>
                </c:pt>
                <c:pt idx="86">
                  <c:v>181.43696809944774</c:v>
                </c:pt>
                <c:pt idx="87">
                  <c:v>178.10639438433552</c:v>
                </c:pt>
                <c:pt idx="88">
                  <c:v>158.44014959033944</c:v>
                </c:pt>
                <c:pt idx="89">
                  <c:v>155.7439708685819</c:v>
                </c:pt>
                <c:pt idx="90">
                  <c:v>157.96435334532339</c:v>
                </c:pt>
                <c:pt idx="91">
                  <c:v>148.28982969666404</c:v>
                </c:pt>
                <c:pt idx="92">
                  <c:v>130.36817113439341</c:v>
                </c:pt>
                <c:pt idx="93">
                  <c:v>117.99746876397651</c:v>
                </c:pt>
                <c:pt idx="94">
                  <c:v>107.21275387694641</c:v>
                </c:pt>
                <c:pt idx="95">
                  <c:v>98.489822718319104</c:v>
                </c:pt>
                <c:pt idx="96">
                  <c:v>94.366255261513487</c:v>
                </c:pt>
                <c:pt idx="97">
                  <c:v>92.780267778126685</c:v>
                </c:pt>
                <c:pt idx="98">
                  <c:v>86.594916592918253</c:v>
                </c:pt>
                <c:pt idx="99">
                  <c:v>84.691731612854113</c:v>
                </c:pt>
                <c:pt idx="100">
                  <c:v>80.250966659371116</c:v>
                </c:pt>
                <c:pt idx="101">
                  <c:v>78.664979175984342</c:v>
                </c:pt>
                <c:pt idx="102">
                  <c:v>76.444596699242851</c:v>
                </c:pt>
                <c:pt idx="103">
                  <c:v>78.664979175984342</c:v>
                </c:pt>
                <c:pt idx="104">
                  <c:v>77.396189189274921</c:v>
                </c:pt>
                <c:pt idx="105">
                  <c:v>71.528035500743826</c:v>
                </c:pt>
                <c:pt idx="106">
                  <c:v>69.942048017357052</c:v>
                </c:pt>
                <c:pt idx="107">
                  <c:v>68.831856778986307</c:v>
                </c:pt>
                <c:pt idx="108">
                  <c:v>67.404468043938195</c:v>
                </c:pt>
                <c:pt idx="109">
                  <c:v>65.501283063874055</c:v>
                </c:pt>
                <c:pt idx="110">
                  <c:v>64.39109182550331</c:v>
                </c:pt>
                <c:pt idx="111">
                  <c:v>65.342684315535379</c:v>
                </c:pt>
                <c:pt idx="112">
                  <c:v>58.522938136972222</c:v>
                </c:pt>
                <c:pt idx="113">
                  <c:v>54.240771931827915</c:v>
                </c:pt>
                <c:pt idx="114">
                  <c:v>51.068796965054347</c:v>
                </c:pt>
                <c:pt idx="115">
                  <c:v>48.214019494958144</c:v>
                </c:pt>
                <c:pt idx="116">
                  <c:v>44.249050786491196</c:v>
                </c:pt>
                <c:pt idx="117">
                  <c:v>45.517840773200618</c:v>
                </c:pt>
                <c:pt idx="118">
                  <c:v>43.138859548120443</c:v>
                </c:pt>
                <c:pt idx="119">
                  <c:v>39.966884581346882</c:v>
                </c:pt>
                <c:pt idx="120">
                  <c:v>34.415928389493153</c:v>
                </c:pt>
                <c:pt idx="121">
                  <c:v>27.437583462591313</c:v>
                </c:pt>
                <c:pt idx="122">
                  <c:v>24.741404740833783</c:v>
                </c:pt>
                <c:pt idx="123">
                  <c:v>23.155417257447002</c:v>
                </c:pt>
                <c:pt idx="124">
                  <c:v>21.410831025721546</c:v>
                </c:pt>
                <c:pt idx="125">
                  <c:v>20.459238535689476</c:v>
                </c:pt>
                <c:pt idx="126">
                  <c:v>16.81146732389988</c:v>
                </c:pt>
                <c:pt idx="127">
                  <c:v>16.177072330545169</c:v>
                </c:pt>
                <c:pt idx="128">
                  <c:v>15.542677337190456</c:v>
                </c:pt>
                <c:pt idx="129">
                  <c:v>13.798091105464996</c:v>
                </c:pt>
                <c:pt idx="130">
                  <c:v>13.798091105464996</c:v>
                </c:pt>
                <c:pt idx="131">
                  <c:v>12.529301118755573</c:v>
                </c:pt>
                <c:pt idx="132">
                  <c:v>12.529301118755573</c:v>
                </c:pt>
                <c:pt idx="133">
                  <c:v>11.419109880384825</c:v>
                </c:pt>
                <c:pt idx="134">
                  <c:v>9.1987274036433302</c:v>
                </c:pt>
                <c:pt idx="135">
                  <c:v>7.6127399202565496</c:v>
                </c:pt>
                <c:pt idx="136">
                  <c:v>6.9783449269018369</c:v>
                </c:pt>
                <c:pt idx="137">
                  <c:v>6.026752436869768</c:v>
                </c:pt>
                <c:pt idx="138">
                  <c:v>5.8681536885310903</c:v>
                </c:pt>
                <c:pt idx="139">
                  <c:v>5.0751599468376991</c:v>
                </c:pt>
                <c:pt idx="140">
                  <c:v>4.2821662051443088</c:v>
                </c:pt>
                <c:pt idx="141">
                  <c:v>3.1719749667735622</c:v>
                </c:pt>
                <c:pt idx="142">
                  <c:v>3.1719749667735622</c:v>
                </c:pt>
                <c:pt idx="143">
                  <c:v>3.013376218434884</c:v>
                </c:pt>
                <c:pt idx="144">
                  <c:v>2.2203824767414937</c:v>
                </c:pt>
                <c:pt idx="145">
                  <c:v>2.2203824767414937</c:v>
                </c:pt>
                <c:pt idx="146">
                  <c:v>2.06178372840281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C$2:$C$169</c:f>
              <c:numCache>
                <c:formatCode>General</c:formatCode>
                <c:ptCount val="16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14A-45E8-87A1-7BD2345ADB4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75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D$2:$D$169</c:f>
              <c:numCache>
                <c:formatCode>General</c:formatCode>
                <c:ptCount val="168"/>
                <c:pt idx="119">
                  <c:v>39.966884581346882</c:v>
                </c:pt>
                <c:pt idx="120">
                  <c:v>37.429304607928039</c:v>
                </c:pt>
                <c:pt idx="121">
                  <c:v>35.050323382847864</c:v>
                </c:pt>
                <c:pt idx="122">
                  <c:v>32.988539654445049</c:v>
                </c:pt>
                <c:pt idx="123">
                  <c:v>30.926755926042233</c:v>
                </c:pt>
                <c:pt idx="124">
                  <c:v>29.182169694316773</c:v>
                </c:pt>
                <c:pt idx="125">
                  <c:v>27.596182210929992</c:v>
                </c:pt>
                <c:pt idx="126">
                  <c:v>26.168793475881888</c:v>
                </c:pt>
                <c:pt idx="127">
                  <c:v>24.741404740833783</c:v>
                </c:pt>
                <c:pt idx="128">
                  <c:v>23.472614754124361</c:v>
                </c:pt>
                <c:pt idx="129">
                  <c:v>22.203824767414936</c:v>
                </c:pt>
                <c:pt idx="130">
                  <c:v>21.09363352904419</c:v>
                </c:pt>
                <c:pt idx="131">
                  <c:v>19.983442290673441</c:v>
                </c:pt>
                <c:pt idx="132">
                  <c:v>18.873251052302695</c:v>
                </c:pt>
                <c:pt idx="133">
                  <c:v>17.76305981393195</c:v>
                </c:pt>
                <c:pt idx="134">
                  <c:v>16.81146732389988</c:v>
                </c:pt>
                <c:pt idx="135">
                  <c:v>15.859874833867812</c:v>
                </c:pt>
                <c:pt idx="136">
                  <c:v>14.908282343835744</c:v>
                </c:pt>
                <c:pt idx="137">
                  <c:v>14.115288602142352</c:v>
                </c:pt>
                <c:pt idx="138">
                  <c:v>13.322294860448961</c:v>
                </c:pt>
                <c:pt idx="139">
                  <c:v>12.687899867094249</c:v>
                </c:pt>
                <c:pt idx="140">
                  <c:v>12.053504873739536</c:v>
                </c:pt>
                <c:pt idx="141">
                  <c:v>11.419109880384825</c:v>
                </c:pt>
                <c:pt idx="142">
                  <c:v>10.94331363536879</c:v>
                </c:pt>
                <c:pt idx="143">
                  <c:v>10.467517390352755</c:v>
                </c:pt>
                <c:pt idx="144">
                  <c:v>9.9917211453367205</c:v>
                </c:pt>
                <c:pt idx="145">
                  <c:v>9.6745236486593651</c:v>
                </c:pt>
                <c:pt idx="146">
                  <c:v>9.1987274036433302</c:v>
                </c:pt>
                <c:pt idx="147">
                  <c:v>8.8815299069659748</c:v>
                </c:pt>
                <c:pt idx="148">
                  <c:v>8.5643324102886176</c:v>
                </c:pt>
                <c:pt idx="149">
                  <c:v>8.0885361652725845</c:v>
                </c:pt>
                <c:pt idx="150">
                  <c:v>7.7713386685952281</c:v>
                </c:pt>
                <c:pt idx="151">
                  <c:v>7.4541411719178718</c:v>
                </c:pt>
                <c:pt idx="152">
                  <c:v>7.1369436752405147</c:v>
                </c:pt>
                <c:pt idx="153">
                  <c:v>6.8197461785631583</c:v>
                </c:pt>
                <c:pt idx="154">
                  <c:v>6.502548681885802</c:v>
                </c:pt>
                <c:pt idx="155">
                  <c:v>6.1853511852084457</c:v>
                </c:pt>
                <c:pt idx="156">
                  <c:v>6.026752436869768</c:v>
                </c:pt>
                <c:pt idx="157">
                  <c:v>5.8681536885310903</c:v>
                </c:pt>
                <c:pt idx="158">
                  <c:v>5.7095549401924126</c:v>
                </c:pt>
                <c:pt idx="159">
                  <c:v>5.550956191853734</c:v>
                </c:pt>
                <c:pt idx="160">
                  <c:v>5.3923574435150554</c:v>
                </c:pt>
                <c:pt idx="161">
                  <c:v>5.2337586951763777</c:v>
                </c:pt>
                <c:pt idx="162">
                  <c:v>5.0751599468376991</c:v>
                </c:pt>
                <c:pt idx="163">
                  <c:v>4.9165611984990214</c:v>
                </c:pt>
                <c:pt idx="164">
                  <c:v>4.7579624501603428</c:v>
                </c:pt>
                <c:pt idx="165">
                  <c:v>4.5993637018216651</c:v>
                </c:pt>
                <c:pt idx="166">
                  <c:v>4.4407649534829874</c:v>
                </c:pt>
                <c:pt idx="167">
                  <c:v>4.44076495348298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14A-45E8-87A1-7BD2345ADB46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0,95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F$2:$F$169</c:f>
              <c:numCache>
                <c:formatCode>General</c:formatCode>
                <c:ptCount val="168"/>
                <c:pt idx="119">
                  <c:v>39.966884581346882</c:v>
                </c:pt>
                <c:pt idx="120">
                  <c:v>37.905100852944074</c:v>
                </c:pt>
                <c:pt idx="121">
                  <c:v>36.319113369557286</c:v>
                </c:pt>
                <c:pt idx="122">
                  <c:v>35.050323382847864</c:v>
                </c:pt>
                <c:pt idx="123">
                  <c:v>33.940132144477118</c:v>
                </c:pt>
                <c:pt idx="124">
                  <c:v>33.147138402783725</c:v>
                </c:pt>
                <c:pt idx="125">
                  <c:v>32.67134215776769</c:v>
                </c:pt>
                <c:pt idx="126">
                  <c:v>32.512743409429014</c:v>
                </c:pt>
                <c:pt idx="127">
                  <c:v>32.036947164412979</c:v>
                </c:pt>
                <c:pt idx="128">
                  <c:v>31.402552171058268</c:v>
                </c:pt>
                <c:pt idx="129">
                  <c:v>30.926755926042233</c:v>
                </c:pt>
                <c:pt idx="130">
                  <c:v>30.450959681026198</c:v>
                </c:pt>
                <c:pt idx="131">
                  <c:v>30.133762184348843</c:v>
                </c:pt>
                <c:pt idx="132">
                  <c:v>29.816564687671487</c:v>
                </c:pt>
                <c:pt idx="133">
                  <c:v>29.340768442655452</c:v>
                </c:pt>
                <c:pt idx="134">
                  <c:v>28.864972197639418</c:v>
                </c:pt>
                <c:pt idx="135">
                  <c:v>28.547774700962059</c:v>
                </c:pt>
                <c:pt idx="136">
                  <c:v>28.071978455946027</c:v>
                </c:pt>
                <c:pt idx="137">
                  <c:v>27.754780959268668</c:v>
                </c:pt>
                <c:pt idx="138">
                  <c:v>27.437583462591313</c:v>
                </c:pt>
                <c:pt idx="139">
                  <c:v>26.961787217575278</c:v>
                </c:pt>
                <c:pt idx="140">
                  <c:v>26.644589720897923</c:v>
                </c:pt>
                <c:pt idx="141">
                  <c:v>26.327392224220567</c:v>
                </c:pt>
                <c:pt idx="142">
                  <c:v>25.851595979204532</c:v>
                </c:pt>
                <c:pt idx="143">
                  <c:v>25.534398482527173</c:v>
                </c:pt>
                <c:pt idx="144">
                  <c:v>25.217200985849818</c:v>
                </c:pt>
                <c:pt idx="145">
                  <c:v>24.900003489172462</c:v>
                </c:pt>
                <c:pt idx="146">
                  <c:v>24.582805992495107</c:v>
                </c:pt>
                <c:pt idx="147">
                  <c:v>24.265608495817752</c:v>
                </c:pt>
                <c:pt idx="148">
                  <c:v>23.948410999140393</c:v>
                </c:pt>
                <c:pt idx="149">
                  <c:v>23.789812250801717</c:v>
                </c:pt>
                <c:pt idx="150">
                  <c:v>23.472614754124361</c:v>
                </c:pt>
                <c:pt idx="151">
                  <c:v>23.155417257447002</c:v>
                </c:pt>
                <c:pt idx="152">
                  <c:v>22.83821976076965</c:v>
                </c:pt>
                <c:pt idx="153">
                  <c:v>22.679621012430967</c:v>
                </c:pt>
                <c:pt idx="154">
                  <c:v>22.362423515753616</c:v>
                </c:pt>
                <c:pt idx="155">
                  <c:v>22.045226019076257</c:v>
                </c:pt>
                <c:pt idx="156">
                  <c:v>21.728028522398901</c:v>
                </c:pt>
                <c:pt idx="157">
                  <c:v>21.569429774060222</c:v>
                </c:pt>
                <c:pt idx="158">
                  <c:v>21.252232277382866</c:v>
                </c:pt>
                <c:pt idx="159">
                  <c:v>20.935034780705511</c:v>
                </c:pt>
                <c:pt idx="160">
                  <c:v>20.617837284028155</c:v>
                </c:pt>
                <c:pt idx="161">
                  <c:v>20.459238535689476</c:v>
                </c:pt>
                <c:pt idx="162">
                  <c:v>20.300639787350796</c:v>
                </c:pt>
                <c:pt idx="163">
                  <c:v>19.983442290673441</c:v>
                </c:pt>
                <c:pt idx="164">
                  <c:v>19.666244793996086</c:v>
                </c:pt>
                <c:pt idx="165">
                  <c:v>19.507646045657406</c:v>
                </c:pt>
                <c:pt idx="166">
                  <c:v>19.34904729731873</c:v>
                </c:pt>
                <c:pt idx="167">
                  <c:v>19.1904485489800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14A-45E8-87A1-7BD2345ADB46}"/>
            </c:ext>
          </c:extLst>
        </c:ser>
        <c:ser>
          <c:idx val="5"/>
          <c:order val="4"/>
          <c:tx>
            <c:strRef>
              <c:f>Sheet1!$G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G$2:$G$169</c:f>
              <c:numCache>
                <c:formatCode>General</c:formatCode>
                <c:ptCount val="168"/>
                <c:pt idx="119">
                  <c:v>39.966884581346882</c:v>
                </c:pt>
                <c:pt idx="120">
                  <c:v>38.380897097960109</c:v>
                </c:pt>
                <c:pt idx="121">
                  <c:v>37.429304607928039</c:v>
                </c:pt>
                <c:pt idx="122">
                  <c:v>36.953508362912004</c:v>
                </c:pt>
                <c:pt idx="123">
                  <c:v>36.636310866234645</c:v>
                </c:pt>
                <c:pt idx="124">
                  <c:v>36.953508362912004</c:v>
                </c:pt>
                <c:pt idx="125">
                  <c:v>37.746502104605391</c:v>
                </c:pt>
                <c:pt idx="126">
                  <c:v>39.015292091314812</c:v>
                </c:pt>
                <c:pt idx="127">
                  <c:v>39.808285833008206</c:v>
                </c:pt>
                <c:pt idx="128">
                  <c:v>40.442680826362917</c:v>
                </c:pt>
                <c:pt idx="129">
                  <c:v>41.077075819717628</c:v>
                </c:pt>
                <c:pt idx="130">
                  <c:v>42.028668309749698</c:v>
                </c:pt>
                <c:pt idx="131">
                  <c:v>42.980260799781767</c:v>
                </c:pt>
                <c:pt idx="132">
                  <c:v>43.931853289813837</c:v>
                </c:pt>
                <c:pt idx="133">
                  <c:v>44.8834457798459</c:v>
                </c:pt>
                <c:pt idx="134">
                  <c:v>45.676439521539301</c:v>
                </c:pt>
                <c:pt idx="135">
                  <c:v>46.469433263232688</c:v>
                </c:pt>
                <c:pt idx="136">
                  <c:v>47.42102575326475</c:v>
                </c:pt>
                <c:pt idx="137">
                  <c:v>48.37261824329682</c:v>
                </c:pt>
                <c:pt idx="138">
                  <c:v>49.482809481667566</c:v>
                </c:pt>
                <c:pt idx="139">
                  <c:v>50.593000720038326</c:v>
                </c:pt>
                <c:pt idx="140">
                  <c:v>51.544593210070381</c:v>
                </c:pt>
                <c:pt idx="141">
                  <c:v>52.496185700102451</c:v>
                </c:pt>
                <c:pt idx="142">
                  <c:v>53.606376938473204</c:v>
                </c:pt>
                <c:pt idx="143">
                  <c:v>54.71656817684395</c:v>
                </c:pt>
                <c:pt idx="144">
                  <c:v>55.985358163553371</c:v>
                </c:pt>
                <c:pt idx="145">
                  <c:v>57.095549401924117</c:v>
                </c:pt>
                <c:pt idx="146">
                  <c:v>58.20574064029487</c:v>
                </c:pt>
                <c:pt idx="147">
                  <c:v>59.474530627004292</c:v>
                </c:pt>
                <c:pt idx="148">
                  <c:v>60.74332061371372</c:v>
                </c:pt>
                <c:pt idx="149">
                  <c:v>62.012110600423142</c:v>
                </c:pt>
                <c:pt idx="150">
                  <c:v>63.280900587132571</c:v>
                </c:pt>
                <c:pt idx="151">
                  <c:v>64.39109182550331</c:v>
                </c:pt>
                <c:pt idx="152">
                  <c:v>65.659881812212731</c:v>
                </c:pt>
                <c:pt idx="153">
                  <c:v>66.928671798922167</c:v>
                </c:pt>
                <c:pt idx="154">
                  <c:v>68.197461785631589</c:v>
                </c:pt>
                <c:pt idx="155">
                  <c:v>69.46625177234101</c:v>
                </c:pt>
                <c:pt idx="156">
                  <c:v>70.893640507389122</c:v>
                </c:pt>
                <c:pt idx="157">
                  <c:v>72.32102924243722</c:v>
                </c:pt>
                <c:pt idx="158">
                  <c:v>73.748417977485332</c:v>
                </c:pt>
                <c:pt idx="159">
                  <c:v>75.175806712533415</c:v>
                </c:pt>
                <c:pt idx="160">
                  <c:v>76.603195447581527</c:v>
                </c:pt>
                <c:pt idx="161">
                  <c:v>78.030584182629624</c:v>
                </c:pt>
                <c:pt idx="162">
                  <c:v>79.616571666016412</c:v>
                </c:pt>
                <c:pt idx="163">
                  <c:v>81.04396040106451</c:v>
                </c:pt>
                <c:pt idx="164">
                  <c:v>82.629947884451298</c:v>
                </c:pt>
                <c:pt idx="165">
                  <c:v>84.215935367838071</c:v>
                </c:pt>
                <c:pt idx="166">
                  <c:v>85.801922851224859</c:v>
                </c:pt>
                <c:pt idx="167">
                  <c:v>87.3879103346116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31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2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B$155:$B$322</c:f>
              <c:numCache>
                <c:formatCode>0</c:formatCode>
                <c:ptCount val="168"/>
                <c:pt idx="0">
                  <c:v>242</c:v>
                </c:pt>
                <c:pt idx="1">
                  <c:v>275</c:v>
                </c:pt>
                <c:pt idx="2">
                  <c:v>250</c:v>
                </c:pt>
                <c:pt idx="3">
                  <c:v>295</c:v>
                </c:pt>
                <c:pt idx="4">
                  <c:v>230</c:v>
                </c:pt>
                <c:pt idx="5">
                  <c:v>178</c:v>
                </c:pt>
                <c:pt idx="6">
                  <c:v>61</c:v>
                </c:pt>
                <c:pt idx="7">
                  <c:v>140</c:v>
                </c:pt>
                <c:pt idx="8">
                  <c:v>274</c:v>
                </c:pt>
                <c:pt idx="9">
                  <c:v>246</c:v>
                </c:pt>
                <c:pt idx="10">
                  <c:v>187</c:v>
                </c:pt>
                <c:pt idx="11">
                  <c:v>227</c:v>
                </c:pt>
                <c:pt idx="12">
                  <c:v>133</c:v>
                </c:pt>
                <c:pt idx="13">
                  <c:v>72</c:v>
                </c:pt>
                <c:pt idx="14">
                  <c:v>215</c:v>
                </c:pt>
                <c:pt idx="15">
                  <c:v>300</c:v>
                </c:pt>
                <c:pt idx="16">
                  <c:v>240</c:v>
                </c:pt>
                <c:pt idx="17">
                  <c:v>314</c:v>
                </c:pt>
                <c:pt idx="18">
                  <c:v>272</c:v>
                </c:pt>
                <c:pt idx="19">
                  <c:v>223</c:v>
                </c:pt>
                <c:pt idx="20">
                  <c:v>127</c:v>
                </c:pt>
                <c:pt idx="21">
                  <c:v>250</c:v>
                </c:pt>
                <c:pt idx="22">
                  <c:v>429</c:v>
                </c:pt>
                <c:pt idx="23">
                  <c:v>403</c:v>
                </c:pt>
                <c:pt idx="24">
                  <c:v>374</c:v>
                </c:pt>
                <c:pt idx="25">
                  <c:v>371</c:v>
                </c:pt>
                <c:pt idx="26">
                  <c:v>328</c:v>
                </c:pt>
                <c:pt idx="27">
                  <c:v>106</c:v>
                </c:pt>
                <c:pt idx="28">
                  <c:v>320</c:v>
                </c:pt>
                <c:pt idx="29">
                  <c:v>464</c:v>
                </c:pt>
                <c:pt idx="30">
                  <c:v>473</c:v>
                </c:pt>
                <c:pt idx="31">
                  <c:v>380</c:v>
                </c:pt>
                <c:pt idx="32">
                  <c:v>309</c:v>
                </c:pt>
                <c:pt idx="33">
                  <c:v>409</c:v>
                </c:pt>
                <c:pt idx="34">
                  <c:v>166</c:v>
                </c:pt>
                <c:pt idx="35">
                  <c:v>302</c:v>
                </c:pt>
                <c:pt idx="36">
                  <c:v>453</c:v>
                </c:pt>
                <c:pt idx="37">
                  <c:v>497</c:v>
                </c:pt>
                <c:pt idx="38">
                  <c:v>361</c:v>
                </c:pt>
                <c:pt idx="39">
                  <c:v>548</c:v>
                </c:pt>
                <c:pt idx="40">
                  <c:v>380</c:v>
                </c:pt>
                <c:pt idx="41">
                  <c:v>105</c:v>
                </c:pt>
                <c:pt idx="42">
                  <c:v>309</c:v>
                </c:pt>
                <c:pt idx="43">
                  <c:v>545</c:v>
                </c:pt>
                <c:pt idx="44">
                  <c:v>465</c:v>
                </c:pt>
                <c:pt idx="45">
                  <c:v>394</c:v>
                </c:pt>
                <c:pt idx="46">
                  <c:v>332</c:v>
                </c:pt>
                <c:pt idx="47">
                  <c:v>281</c:v>
                </c:pt>
                <c:pt idx="48">
                  <c:v>122</c:v>
                </c:pt>
                <c:pt idx="49">
                  <c:v>236</c:v>
                </c:pt>
                <c:pt idx="50">
                  <c:v>510</c:v>
                </c:pt>
                <c:pt idx="51">
                  <c:v>428</c:v>
                </c:pt>
                <c:pt idx="52">
                  <c:v>371</c:v>
                </c:pt>
                <c:pt idx="53">
                  <c:v>342</c:v>
                </c:pt>
                <c:pt idx="54">
                  <c:v>299</c:v>
                </c:pt>
                <c:pt idx="55">
                  <c:v>138</c:v>
                </c:pt>
                <c:pt idx="56">
                  <c:v>268</c:v>
                </c:pt>
                <c:pt idx="57">
                  <c:v>543</c:v>
                </c:pt>
                <c:pt idx="58">
                  <c:v>395</c:v>
                </c:pt>
                <c:pt idx="59">
                  <c:v>502</c:v>
                </c:pt>
                <c:pt idx="60">
                  <c:v>257</c:v>
                </c:pt>
                <c:pt idx="61">
                  <c:v>176</c:v>
                </c:pt>
                <c:pt idx="62">
                  <c:v>151</c:v>
                </c:pt>
                <c:pt idx="63">
                  <c:v>103</c:v>
                </c:pt>
                <c:pt idx="64">
                  <c:v>178</c:v>
                </c:pt>
                <c:pt idx="65">
                  <c:v>502</c:v>
                </c:pt>
                <c:pt idx="66">
                  <c:v>400</c:v>
                </c:pt>
                <c:pt idx="67">
                  <c:v>303</c:v>
                </c:pt>
                <c:pt idx="68">
                  <c:v>235</c:v>
                </c:pt>
                <c:pt idx="69">
                  <c:v>87</c:v>
                </c:pt>
                <c:pt idx="70">
                  <c:v>188</c:v>
                </c:pt>
                <c:pt idx="71">
                  <c:v>399</c:v>
                </c:pt>
                <c:pt idx="72">
                  <c:v>270</c:v>
                </c:pt>
                <c:pt idx="73">
                  <c:v>263</c:v>
                </c:pt>
                <c:pt idx="74">
                  <c:v>255</c:v>
                </c:pt>
                <c:pt idx="75">
                  <c:v>191</c:v>
                </c:pt>
                <c:pt idx="76">
                  <c:v>108</c:v>
                </c:pt>
                <c:pt idx="77">
                  <c:v>210</c:v>
                </c:pt>
                <c:pt idx="78">
                  <c:v>276</c:v>
                </c:pt>
                <c:pt idx="79">
                  <c:v>343</c:v>
                </c:pt>
                <c:pt idx="80">
                  <c:v>250</c:v>
                </c:pt>
                <c:pt idx="81">
                  <c:v>226</c:v>
                </c:pt>
                <c:pt idx="82">
                  <c:v>145</c:v>
                </c:pt>
                <c:pt idx="83">
                  <c:v>93</c:v>
                </c:pt>
                <c:pt idx="84">
                  <c:v>167</c:v>
                </c:pt>
                <c:pt idx="85">
                  <c:v>244</c:v>
                </c:pt>
                <c:pt idx="86">
                  <c:v>231</c:v>
                </c:pt>
                <c:pt idx="87">
                  <c:v>196</c:v>
                </c:pt>
                <c:pt idx="88">
                  <c:v>149</c:v>
                </c:pt>
                <c:pt idx="89">
                  <c:v>175</c:v>
                </c:pt>
                <c:pt idx="90">
                  <c:v>11</c:v>
                </c:pt>
                <c:pt idx="91">
                  <c:v>159</c:v>
                </c:pt>
                <c:pt idx="92">
                  <c:v>194</c:v>
                </c:pt>
                <c:pt idx="93">
                  <c:v>166</c:v>
                </c:pt>
                <c:pt idx="94">
                  <c:v>133</c:v>
                </c:pt>
                <c:pt idx="95">
                  <c:v>94</c:v>
                </c:pt>
                <c:pt idx="96">
                  <c:v>104</c:v>
                </c:pt>
                <c:pt idx="97">
                  <c:v>20</c:v>
                </c:pt>
                <c:pt idx="98">
                  <c:v>100</c:v>
                </c:pt>
                <c:pt idx="99">
                  <c:v>148</c:v>
                </c:pt>
                <c:pt idx="100">
                  <c:v>103</c:v>
                </c:pt>
                <c:pt idx="101">
                  <c:v>119</c:v>
                </c:pt>
                <c:pt idx="102">
                  <c:v>68</c:v>
                </c:pt>
                <c:pt idx="103">
                  <c:v>67</c:v>
                </c:pt>
                <c:pt idx="104">
                  <c:v>6</c:v>
                </c:pt>
                <c:pt idx="105">
                  <c:v>85</c:v>
                </c:pt>
                <c:pt idx="106">
                  <c:v>74</c:v>
                </c:pt>
                <c:pt idx="107">
                  <c:v>51</c:v>
                </c:pt>
                <c:pt idx="108">
                  <c:v>87</c:v>
                </c:pt>
                <c:pt idx="109">
                  <c:v>51</c:v>
                </c:pt>
                <c:pt idx="110">
                  <c:v>48</c:v>
                </c:pt>
                <c:pt idx="111">
                  <c:v>5</c:v>
                </c:pt>
                <c:pt idx="112">
                  <c:v>64</c:v>
                </c:pt>
                <c:pt idx="113">
                  <c:v>66</c:v>
                </c:pt>
                <c:pt idx="114">
                  <c:v>28</c:v>
                </c:pt>
                <c:pt idx="115">
                  <c:v>42</c:v>
                </c:pt>
                <c:pt idx="116">
                  <c:v>46</c:v>
                </c:pt>
                <c:pt idx="117">
                  <c:v>30</c:v>
                </c:pt>
                <c:pt idx="118">
                  <c:v>6</c:v>
                </c:pt>
                <c:pt idx="119">
                  <c:v>35</c:v>
                </c:pt>
                <c:pt idx="120">
                  <c:v>56</c:v>
                </c:pt>
                <c:pt idx="121">
                  <c:v>35</c:v>
                </c:pt>
                <c:pt idx="122">
                  <c:v>22</c:v>
                </c:pt>
                <c:pt idx="123">
                  <c:v>24</c:v>
                </c:pt>
                <c:pt idx="124">
                  <c:v>10</c:v>
                </c:pt>
                <c:pt idx="125">
                  <c:v>0</c:v>
                </c:pt>
                <c:pt idx="126">
                  <c:v>21</c:v>
                </c:pt>
                <c:pt idx="127">
                  <c:v>24</c:v>
                </c:pt>
                <c:pt idx="128">
                  <c:v>18</c:v>
                </c:pt>
                <c:pt idx="129">
                  <c:v>11</c:v>
                </c:pt>
                <c:pt idx="130">
                  <c:v>6</c:v>
                </c:pt>
                <c:pt idx="131">
                  <c:v>7</c:v>
                </c:pt>
                <c:pt idx="132">
                  <c:v>0</c:v>
                </c:pt>
                <c:pt idx="133">
                  <c:v>12</c:v>
                </c:pt>
                <c:pt idx="134">
                  <c:v>11</c:v>
                </c:pt>
                <c:pt idx="135">
                  <c:v>4</c:v>
                </c:pt>
                <c:pt idx="136">
                  <c:v>6</c:v>
                </c:pt>
                <c:pt idx="137">
                  <c:v>8</c:v>
                </c:pt>
                <c:pt idx="138">
                  <c:v>9</c:v>
                </c:pt>
                <c:pt idx="139">
                  <c:v>1</c:v>
                </c:pt>
                <c:pt idx="140">
                  <c:v>8</c:v>
                </c:pt>
                <c:pt idx="141">
                  <c:v>10</c:v>
                </c:pt>
                <c:pt idx="142">
                  <c:v>12</c:v>
                </c:pt>
                <c:pt idx="143">
                  <c:v>4</c:v>
                </c:pt>
                <c:pt idx="144">
                  <c:v>2</c:v>
                </c:pt>
                <c:pt idx="145">
                  <c:v>4</c:v>
                </c:pt>
                <c:pt idx="146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C$155:$C$322</c:f>
              <c:numCache>
                <c:formatCode>General</c:formatCode>
                <c:ptCount val="16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14A-45E8-87A1-7BD2345ADB4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70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D$155:$D$322</c:f>
              <c:numCache>
                <c:formatCode>General</c:formatCode>
                <c:ptCount val="168"/>
                <c:pt idx="119">
                  <c:v>30</c:v>
                </c:pt>
                <c:pt idx="120">
                  <c:v>28</c:v>
                </c:pt>
                <c:pt idx="121">
                  <c:v>27</c:v>
                </c:pt>
                <c:pt idx="122">
                  <c:v>25</c:v>
                </c:pt>
                <c:pt idx="123">
                  <c:v>24</c:v>
                </c:pt>
                <c:pt idx="124">
                  <c:v>22</c:v>
                </c:pt>
                <c:pt idx="125">
                  <c:v>21</c:v>
                </c:pt>
                <c:pt idx="126">
                  <c:v>20</c:v>
                </c:pt>
                <c:pt idx="127">
                  <c:v>19</c:v>
                </c:pt>
                <c:pt idx="128">
                  <c:v>18</c:v>
                </c:pt>
                <c:pt idx="129">
                  <c:v>17</c:v>
                </c:pt>
                <c:pt idx="130">
                  <c:v>16</c:v>
                </c:pt>
                <c:pt idx="131">
                  <c:v>15</c:v>
                </c:pt>
                <c:pt idx="132">
                  <c:v>14</c:v>
                </c:pt>
                <c:pt idx="133">
                  <c:v>14</c:v>
                </c:pt>
                <c:pt idx="134">
                  <c:v>13</c:v>
                </c:pt>
                <c:pt idx="135">
                  <c:v>12</c:v>
                </c:pt>
                <c:pt idx="136">
                  <c:v>12</c:v>
                </c:pt>
                <c:pt idx="137">
                  <c:v>11</c:v>
                </c:pt>
                <c:pt idx="138">
                  <c:v>11</c:v>
                </c:pt>
                <c:pt idx="139">
                  <c:v>10</c:v>
                </c:pt>
                <c:pt idx="140">
                  <c:v>10</c:v>
                </c:pt>
                <c:pt idx="141">
                  <c:v>9</c:v>
                </c:pt>
                <c:pt idx="142">
                  <c:v>9</c:v>
                </c:pt>
                <c:pt idx="143">
                  <c:v>8</c:v>
                </c:pt>
                <c:pt idx="144">
                  <c:v>8</c:v>
                </c:pt>
                <c:pt idx="145">
                  <c:v>8</c:v>
                </c:pt>
                <c:pt idx="146">
                  <c:v>7</c:v>
                </c:pt>
                <c:pt idx="147">
                  <c:v>7</c:v>
                </c:pt>
                <c:pt idx="148">
                  <c:v>7</c:v>
                </c:pt>
                <c:pt idx="149">
                  <c:v>6</c:v>
                </c:pt>
                <c:pt idx="150">
                  <c:v>6</c:v>
                </c:pt>
                <c:pt idx="151">
                  <c:v>6</c:v>
                </c:pt>
                <c:pt idx="152">
                  <c:v>6</c:v>
                </c:pt>
                <c:pt idx="153">
                  <c:v>6</c:v>
                </c:pt>
                <c:pt idx="154">
                  <c:v>5</c:v>
                </c:pt>
                <c:pt idx="155">
                  <c:v>5</c:v>
                </c:pt>
                <c:pt idx="156">
                  <c:v>5</c:v>
                </c:pt>
                <c:pt idx="157">
                  <c:v>5</c:v>
                </c:pt>
                <c:pt idx="158">
                  <c:v>5</c:v>
                </c:pt>
                <c:pt idx="159">
                  <c:v>5</c:v>
                </c:pt>
                <c:pt idx="160">
                  <c:v>4</c:v>
                </c:pt>
                <c:pt idx="161">
                  <c:v>4</c:v>
                </c:pt>
                <c:pt idx="162">
                  <c:v>4</c:v>
                </c:pt>
                <c:pt idx="163">
                  <c:v>4</c:v>
                </c:pt>
                <c:pt idx="164">
                  <c:v>4</c:v>
                </c:pt>
                <c:pt idx="165">
                  <c:v>4</c:v>
                </c:pt>
                <c:pt idx="166">
                  <c:v>4</c:v>
                </c:pt>
                <c:pt idx="167">
                  <c:v>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14A-45E8-87A1-7BD2345ADB46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0,90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F$155:$F$322</c:f>
              <c:numCache>
                <c:formatCode>General</c:formatCode>
                <c:ptCount val="168"/>
                <c:pt idx="119">
                  <c:v>30</c:v>
                </c:pt>
                <c:pt idx="120">
                  <c:v>31</c:v>
                </c:pt>
                <c:pt idx="121">
                  <c:v>31</c:v>
                </c:pt>
                <c:pt idx="122">
                  <c:v>30</c:v>
                </c:pt>
                <c:pt idx="123">
                  <c:v>29</c:v>
                </c:pt>
                <c:pt idx="124">
                  <c:v>29</c:v>
                </c:pt>
                <c:pt idx="125">
                  <c:v>28</c:v>
                </c:pt>
                <c:pt idx="126">
                  <c:v>28</c:v>
                </c:pt>
                <c:pt idx="127">
                  <c:v>28</c:v>
                </c:pt>
                <c:pt idx="128">
                  <c:v>28</c:v>
                </c:pt>
                <c:pt idx="129">
                  <c:v>27</c:v>
                </c:pt>
                <c:pt idx="130">
                  <c:v>26</c:v>
                </c:pt>
                <c:pt idx="131">
                  <c:v>26</c:v>
                </c:pt>
                <c:pt idx="132">
                  <c:v>26</c:v>
                </c:pt>
                <c:pt idx="133">
                  <c:v>26</c:v>
                </c:pt>
                <c:pt idx="134">
                  <c:v>25</c:v>
                </c:pt>
                <c:pt idx="135">
                  <c:v>25</c:v>
                </c:pt>
                <c:pt idx="136">
                  <c:v>24</c:v>
                </c:pt>
                <c:pt idx="137">
                  <c:v>24</c:v>
                </c:pt>
                <c:pt idx="138">
                  <c:v>24</c:v>
                </c:pt>
                <c:pt idx="139">
                  <c:v>24</c:v>
                </c:pt>
                <c:pt idx="140">
                  <c:v>23</c:v>
                </c:pt>
                <c:pt idx="141">
                  <c:v>23</c:v>
                </c:pt>
                <c:pt idx="142">
                  <c:v>23</c:v>
                </c:pt>
                <c:pt idx="143">
                  <c:v>22</c:v>
                </c:pt>
                <c:pt idx="144">
                  <c:v>22</c:v>
                </c:pt>
                <c:pt idx="145">
                  <c:v>22</c:v>
                </c:pt>
                <c:pt idx="146">
                  <c:v>22</c:v>
                </c:pt>
                <c:pt idx="147">
                  <c:v>21</c:v>
                </c:pt>
                <c:pt idx="148">
                  <c:v>21</c:v>
                </c:pt>
                <c:pt idx="149">
                  <c:v>21</c:v>
                </c:pt>
                <c:pt idx="150">
                  <c:v>21</c:v>
                </c:pt>
                <c:pt idx="151">
                  <c:v>20</c:v>
                </c:pt>
                <c:pt idx="152">
                  <c:v>20</c:v>
                </c:pt>
                <c:pt idx="153">
                  <c:v>20</c:v>
                </c:pt>
                <c:pt idx="154">
                  <c:v>20</c:v>
                </c:pt>
                <c:pt idx="155">
                  <c:v>19</c:v>
                </c:pt>
                <c:pt idx="156">
                  <c:v>19</c:v>
                </c:pt>
                <c:pt idx="157">
                  <c:v>19</c:v>
                </c:pt>
                <c:pt idx="158">
                  <c:v>19</c:v>
                </c:pt>
                <c:pt idx="159">
                  <c:v>19</c:v>
                </c:pt>
                <c:pt idx="160">
                  <c:v>18</c:v>
                </c:pt>
                <c:pt idx="161">
                  <c:v>18</c:v>
                </c:pt>
                <c:pt idx="162">
                  <c:v>18</c:v>
                </c:pt>
                <c:pt idx="163">
                  <c:v>18</c:v>
                </c:pt>
                <c:pt idx="164">
                  <c:v>18</c:v>
                </c:pt>
                <c:pt idx="165">
                  <c:v>17</c:v>
                </c:pt>
                <c:pt idx="166">
                  <c:v>17</c:v>
                </c:pt>
                <c:pt idx="167">
                  <c:v>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14A-45E8-87A1-7BD2345ADB46}"/>
            </c:ext>
          </c:extLst>
        </c:ser>
        <c:ser>
          <c:idx val="5"/>
          <c:order val="4"/>
          <c:tx>
            <c:strRef>
              <c:f>Sheet1!$G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G$155:$G$322</c:f>
              <c:numCache>
                <c:formatCode>General</c:formatCode>
                <c:ptCount val="168"/>
                <c:pt idx="119">
                  <c:v>30</c:v>
                </c:pt>
                <c:pt idx="120">
                  <c:v>34</c:v>
                </c:pt>
                <c:pt idx="121">
                  <c:v>36</c:v>
                </c:pt>
                <c:pt idx="122">
                  <c:v>36</c:v>
                </c:pt>
                <c:pt idx="123">
                  <c:v>35</c:v>
                </c:pt>
                <c:pt idx="124">
                  <c:v>35</c:v>
                </c:pt>
                <c:pt idx="125">
                  <c:v>36</c:v>
                </c:pt>
                <c:pt idx="126">
                  <c:v>38</c:v>
                </c:pt>
                <c:pt idx="127">
                  <c:v>39</c:v>
                </c:pt>
                <c:pt idx="128">
                  <c:v>39</c:v>
                </c:pt>
                <c:pt idx="129">
                  <c:v>40</c:v>
                </c:pt>
                <c:pt idx="130">
                  <c:v>40</c:v>
                </c:pt>
                <c:pt idx="131">
                  <c:v>41</c:v>
                </c:pt>
                <c:pt idx="132">
                  <c:v>43</c:v>
                </c:pt>
                <c:pt idx="133">
                  <c:v>44</c:v>
                </c:pt>
                <c:pt idx="134">
                  <c:v>44</c:v>
                </c:pt>
                <c:pt idx="135">
                  <c:v>45</c:v>
                </c:pt>
                <c:pt idx="136">
                  <c:v>46</c:v>
                </c:pt>
                <c:pt idx="137">
                  <c:v>47</c:v>
                </c:pt>
                <c:pt idx="138">
                  <c:v>48</c:v>
                </c:pt>
                <c:pt idx="139">
                  <c:v>49</c:v>
                </c:pt>
                <c:pt idx="140">
                  <c:v>50</c:v>
                </c:pt>
                <c:pt idx="141">
                  <c:v>51</c:v>
                </c:pt>
                <c:pt idx="142">
                  <c:v>52</c:v>
                </c:pt>
                <c:pt idx="143">
                  <c:v>53</c:v>
                </c:pt>
                <c:pt idx="144">
                  <c:v>54</c:v>
                </c:pt>
                <c:pt idx="145">
                  <c:v>55</c:v>
                </c:pt>
                <c:pt idx="146">
                  <c:v>56</c:v>
                </c:pt>
                <c:pt idx="147">
                  <c:v>57</c:v>
                </c:pt>
                <c:pt idx="148">
                  <c:v>58</c:v>
                </c:pt>
                <c:pt idx="149">
                  <c:v>60</c:v>
                </c:pt>
                <c:pt idx="150">
                  <c:v>61</c:v>
                </c:pt>
                <c:pt idx="151">
                  <c:v>62</c:v>
                </c:pt>
                <c:pt idx="152">
                  <c:v>63</c:v>
                </c:pt>
                <c:pt idx="153">
                  <c:v>65</c:v>
                </c:pt>
                <c:pt idx="154">
                  <c:v>66</c:v>
                </c:pt>
                <c:pt idx="155">
                  <c:v>67</c:v>
                </c:pt>
                <c:pt idx="156">
                  <c:v>68</c:v>
                </c:pt>
                <c:pt idx="157">
                  <c:v>70</c:v>
                </c:pt>
                <c:pt idx="158">
                  <c:v>71</c:v>
                </c:pt>
                <c:pt idx="159">
                  <c:v>72</c:v>
                </c:pt>
                <c:pt idx="160">
                  <c:v>74</c:v>
                </c:pt>
                <c:pt idx="161">
                  <c:v>75</c:v>
                </c:pt>
                <c:pt idx="162">
                  <c:v>77</c:v>
                </c:pt>
                <c:pt idx="163">
                  <c:v>78</c:v>
                </c:pt>
                <c:pt idx="164">
                  <c:v>80</c:v>
                </c:pt>
                <c:pt idx="165">
                  <c:v>81</c:v>
                </c:pt>
                <c:pt idx="166">
                  <c:v>83</c:v>
                </c:pt>
                <c:pt idx="167">
                  <c:v>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31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2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5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H$2:$H$169</c:f>
              <c:numCache>
                <c:formatCode>0</c:formatCode>
                <c:ptCount val="168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  <c:pt idx="126">
                  <c:v>100</c:v>
                </c:pt>
                <c:pt idx="127">
                  <c:v>100</c:v>
                </c:pt>
                <c:pt idx="128">
                  <c:v>100</c:v>
                </c:pt>
                <c:pt idx="129">
                  <c:v>100</c:v>
                </c:pt>
                <c:pt idx="130">
                  <c:v>100</c:v>
                </c:pt>
                <c:pt idx="131">
                  <c:v>100</c:v>
                </c:pt>
                <c:pt idx="132">
                  <c:v>100</c:v>
                </c:pt>
                <c:pt idx="133">
                  <c:v>100</c:v>
                </c:pt>
                <c:pt idx="134">
                  <c:v>100</c:v>
                </c:pt>
                <c:pt idx="135">
                  <c:v>100</c:v>
                </c:pt>
                <c:pt idx="136">
                  <c:v>100</c:v>
                </c:pt>
                <c:pt idx="137">
                  <c:v>100</c:v>
                </c:pt>
                <c:pt idx="138">
                  <c:v>100</c:v>
                </c:pt>
                <c:pt idx="139">
                  <c:v>100</c:v>
                </c:pt>
                <c:pt idx="140">
                  <c:v>100</c:v>
                </c:pt>
                <c:pt idx="141">
                  <c:v>100</c:v>
                </c:pt>
                <c:pt idx="142">
                  <c:v>100</c:v>
                </c:pt>
                <c:pt idx="143">
                  <c:v>100</c:v>
                </c:pt>
                <c:pt idx="144">
                  <c:v>100</c:v>
                </c:pt>
                <c:pt idx="145">
                  <c:v>100</c:v>
                </c:pt>
                <c:pt idx="146">
                  <c:v>100</c:v>
                </c:pt>
                <c:pt idx="147">
                  <c:v>100</c:v>
                </c:pt>
                <c:pt idx="148">
                  <c:v>100</c:v>
                </c:pt>
                <c:pt idx="149">
                  <c:v>100</c:v>
                </c:pt>
                <c:pt idx="150">
                  <c:v>100</c:v>
                </c:pt>
                <c:pt idx="151">
                  <c:v>100</c:v>
                </c:pt>
                <c:pt idx="152">
                  <c:v>100</c:v>
                </c:pt>
                <c:pt idx="153">
                  <c:v>100</c:v>
                </c:pt>
                <c:pt idx="154">
                  <c:v>100</c:v>
                </c:pt>
                <c:pt idx="155">
                  <c:v>100</c:v>
                </c:pt>
                <c:pt idx="156">
                  <c:v>100</c:v>
                </c:pt>
                <c:pt idx="157">
                  <c:v>100</c:v>
                </c:pt>
                <c:pt idx="158">
                  <c:v>100</c:v>
                </c:pt>
                <c:pt idx="159">
                  <c:v>100</c:v>
                </c:pt>
                <c:pt idx="160">
                  <c:v>100</c:v>
                </c:pt>
                <c:pt idx="161">
                  <c:v>100</c:v>
                </c:pt>
                <c:pt idx="162">
                  <c:v>100</c:v>
                </c:pt>
                <c:pt idx="163">
                  <c:v>100</c:v>
                </c:pt>
                <c:pt idx="164">
                  <c:v>100</c:v>
                </c:pt>
                <c:pt idx="165">
                  <c:v>100</c:v>
                </c:pt>
                <c:pt idx="166">
                  <c:v>100</c:v>
                </c:pt>
                <c:pt idx="167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EF5-483F-B422-4E0629062509}"/>
            </c:ext>
          </c:extLst>
        </c:ser>
        <c:ser>
          <c:idx val="7"/>
          <c:order val="6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rgbClr val="C2FFDF"/>
            </a:solidFill>
            <a:ln>
              <a:noFill/>
            </a:ln>
            <a:effectLst/>
          </c:spP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I$2:$I$169</c:f>
              <c:numCache>
                <c:formatCode>0</c:formatCode>
                <c:ptCount val="168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  <c:pt idx="79">
                  <c:v>50</c:v>
                </c:pt>
                <c:pt idx="80">
                  <c:v>50</c:v>
                </c:pt>
                <c:pt idx="81">
                  <c:v>50</c:v>
                </c:pt>
                <c:pt idx="82">
                  <c:v>50</c:v>
                </c:pt>
                <c:pt idx="83">
                  <c:v>50</c:v>
                </c:pt>
                <c:pt idx="84">
                  <c:v>50</c:v>
                </c:pt>
                <c:pt idx="85">
                  <c:v>50</c:v>
                </c:pt>
                <c:pt idx="86">
                  <c:v>50</c:v>
                </c:pt>
                <c:pt idx="87">
                  <c:v>50</c:v>
                </c:pt>
                <c:pt idx="88">
                  <c:v>50</c:v>
                </c:pt>
                <c:pt idx="89">
                  <c:v>50</c:v>
                </c:pt>
                <c:pt idx="90">
                  <c:v>50</c:v>
                </c:pt>
                <c:pt idx="91">
                  <c:v>50</c:v>
                </c:pt>
                <c:pt idx="92">
                  <c:v>50</c:v>
                </c:pt>
                <c:pt idx="93">
                  <c:v>50</c:v>
                </c:pt>
                <c:pt idx="94">
                  <c:v>50</c:v>
                </c:pt>
                <c:pt idx="95">
                  <c:v>50</c:v>
                </c:pt>
                <c:pt idx="96">
                  <c:v>50</c:v>
                </c:pt>
                <c:pt idx="97">
                  <c:v>50</c:v>
                </c:pt>
                <c:pt idx="98">
                  <c:v>50</c:v>
                </c:pt>
                <c:pt idx="99">
                  <c:v>50</c:v>
                </c:pt>
                <c:pt idx="100">
                  <c:v>50</c:v>
                </c:pt>
                <c:pt idx="101">
                  <c:v>50</c:v>
                </c:pt>
                <c:pt idx="102">
                  <c:v>50</c:v>
                </c:pt>
                <c:pt idx="103">
                  <c:v>50</c:v>
                </c:pt>
                <c:pt idx="104">
                  <c:v>50</c:v>
                </c:pt>
                <c:pt idx="105">
                  <c:v>50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  <c:pt idx="110">
                  <c:v>50</c:v>
                </c:pt>
                <c:pt idx="111">
                  <c:v>50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0</c:v>
                </c:pt>
                <c:pt idx="122">
                  <c:v>50</c:v>
                </c:pt>
                <c:pt idx="123">
                  <c:v>50</c:v>
                </c:pt>
                <c:pt idx="124">
                  <c:v>50</c:v>
                </c:pt>
                <c:pt idx="125">
                  <c:v>50</c:v>
                </c:pt>
                <c:pt idx="126">
                  <c:v>50</c:v>
                </c:pt>
                <c:pt idx="127">
                  <c:v>50</c:v>
                </c:pt>
                <c:pt idx="128">
                  <c:v>50</c:v>
                </c:pt>
                <c:pt idx="129">
                  <c:v>50</c:v>
                </c:pt>
                <c:pt idx="130">
                  <c:v>50</c:v>
                </c:pt>
                <c:pt idx="131">
                  <c:v>50</c:v>
                </c:pt>
                <c:pt idx="132">
                  <c:v>50</c:v>
                </c:pt>
                <c:pt idx="133">
                  <c:v>50</c:v>
                </c:pt>
                <c:pt idx="134">
                  <c:v>50</c:v>
                </c:pt>
                <c:pt idx="135">
                  <c:v>50</c:v>
                </c:pt>
                <c:pt idx="136">
                  <c:v>50</c:v>
                </c:pt>
                <c:pt idx="137">
                  <c:v>50</c:v>
                </c:pt>
                <c:pt idx="138">
                  <c:v>50</c:v>
                </c:pt>
                <c:pt idx="139">
                  <c:v>50</c:v>
                </c:pt>
                <c:pt idx="140">
                  <c:v>50</c:v>
                </c:pt>
                <c:pt idx="141">
                  <c:v>50</c:v>
                </c:pt>
                <c:pt idx="142">
                  <c:v>50</c:v>
                </c:pt>
                <c:pt idx="143">
                  <c:v>50</c:v>
                </c:pt>
                <c:pt idx="144">
                  <c:v>50</c:v>
                </c:pt>
                <c:pt idx="145">
                  <c:v>50</c:v>
                </c:pt>
                <c:pt idx="146">
                  <c:v>50</c:v>
                </c:pt>
                <c:pt idx="147">
                  <c:v>50</c:v>
                </c:pt>
                <c:pt idx="148">
                  <c:v>50</c:v>
                </c:pt>
                <c:pt idx="149">
                  <c:v>50</c:v>
                </c:pt>
                <c:pt idx="150">
                  <c:v>50</c:v>
                </c:pt>
                <c:pt idx="151">
                  <c:v>50</c:v>
                </c:pt>
                <c:pt idx="152">
                  <c:v>50</c:v>
                </c:pt>
                <c:pt idx="153">
                  <c:v>50</c:v>
                </c:pt>
                <c:pt idx="154">
                  <c:v>50</c:v>
                </c:pt>
                <c:pt idx="155">
                  <c:v>50</c:v>
                </c:pt>
                <c:pt idx="156">
                  <c:v>50</c:v>
                </c:pt>
                <c:pt idx="157">
                  <c:v>50</c:v>
                </c:pt>
                <c:pt idx="158">
                  <c:v>50</c:v>
                </c:pt>
                <c:pt idx="159">
                  <c:v>50</c:v>
                </c:pt>
                <c:pt idx="160">
                  <c:v>50</c:v>
                </c:pt>
                <c:pt idx="161">
                  <c:v>50</c:v>
                </c:pt>
                <c:pt idx="162">
                  <c:v>50</c:v>
                </c:pt>
                <c:pt idx="163">
                  <c:v>50</c:v>
                </c:pt>
                <c:pt idx="164">
                  <c:v>50</c:v>
                </c:pt>
                <c:pt idx="165">
                  <c:v>50</c:v>
                </c:pt>
                <c:pt idx="166">
                  <c:v>50</c:v>
                </c:pt>
                <c:pt idx="167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EF5-483F-B422-4E06290625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B$2:$B$169</c:f>
              <c:numCache>
                <c:formatCode>0</c:formatCode>
                <c:ptCount val="168"/>
                <c:pt idx="0">
                  <c:v>299.4213256245701</c:v>
                </c:pt>
                <c:pt idx="1">
                  <c:v>279.59780665691005</c:v>
                </c:pt>
                <c:pt idx="2">
                  <c:v>265.63515416664512</c:v>
                </c:pt>
                <c:pt idx="3">
                  <c:v>279.25304980529859</c:v>
                </c:pt>
                <c:pt idx="4">
                  <c:v>273.21980490209768</c:v>
                </c:pt>
                <c:pt idx="5">
                  <c:v>268.22083055373122</c:v>
                </c:pt>
                <c:pt idx="6">
                  <c:v>263.91136990858769</c:v>
                </c:pt>
                <c:pt idx="7">
                  <c:v>246.32877047640224</c:v>
                </c:pt>
                <c:pt idx="8">
                  <c:v>246.15639205059654</c:v>
                </c:pt>
                <c:pt idx="9">
                  <c:v>245.46687834737358</c:v>
                </c:pt>
                <c:pt idx="10">
                  <c:v>226.85000836035366</c:v>
                </c:pt>
                <c:pt idx="11">
                  <c:v>226.33287308293643</c:v>
                </c:pt>
                <c:pt idx="12">
                  <c:v>218.57584392167814</c:v>
                </c:pt>
                <c:pt idx="13">
                  <c:v>220.47200660554128</c:v>
                </c:pt>
                <c:pt idx="14">
                  <c:v>233.40038854097176</c:v>
                </c:pt>
                <c:pt idx="15">
                  <c:v>237.882227611921</c:v>
                </c:pt>
                <c:pt idx="16">
                  <c:v>236.84795705708655</c:v>
                </c:pt>
                <c:pt idx="17">
                  <c:v>258.7400171344155</c:v>
                </c:pt>
                <c:pt idx="18">
                  <c:v>266.49704629567378</c:v>
                </c:pt>
                <c:pt idx="19">
                  <c:v>282.01110461819042</c:v>
                </c:pt>
                <c:pt idx="20">
                  <c:v>291.49191803750608</c:v>
                </c:pt>
                <c:pt idx="21">
                  <c:v>297.52516294070699</c:v>
                </c:pt>
                <c:pt idx="22">
                  <c:v>319.76197986964746</c:v>
                </c:pt>
                <c:pt idx="23">
                  <c:v>347.859663275983</c:v>
                </c:pt>
                <c:pt idx="24">
                  <c:v>358.20236882432744</c:v>
                </c:pt>
                <c:pt idx="25">
                  <c:v>375.26783297909572</c:v>
                </c:pt>
                <c:pt idx="26">
                  <c:v>393.36756768869833</c:v>
                </c:pt>
                <c:pt idx="27">
                  <c:v>389.74762074677784</c:v>
                </c:pt>
                <c:pt idx="28">
                  <c:v>401.8141105531796</c:v>
                </c:pt>
                <c:pt idx="29">
                  <c:v>407.84735545638046</c:v>
                </c:pt>
                <c:pt idx="30">
                  <c:v>419.91384526278233</c:v>
                </c:pt>
                <c:pt idx="31">
                  <c:v>420.94811581761678</c:v>
                </c:pt>
                <c:pt idx="32">
                  <c:v>410.26065341766082</c:v>
                </c:pt>
                <c:pt idx="33">
                  <c:v>424.22330590792575</c:v>
                </c:pt>
                <c:pt idx="34">
                  <c:v>434.56601145627019</c:v>
                </c:pt>
                <c:pt idx="35">
                  <c:v>431.4631997917669</c:v>
                </c:pt>
                <c:pt idx="36">
                  <c:v>429.56703710790367</c:v>
                </c:pt>
                <c:pt idx="37">
                  <c:v>433.70411932724141</c:v>
                </c:pt>
                <c:pt idx="38">
                  <c:v>430.42892923693245</c:v>
                </c:pt>
                <c:pt idx="39">
                  <c:v>471.62737300450425</c:v>
                </c:pt>
                <c:pt idx="40">
                  <c:v>466.62839865613779</c:v>
                </c:pt>
                <c:pt idx="41">
                  <c:v>456.11331468198767</c:v>
                </c:pt>
                <c:pt idx="42">
                  <c:v>457.31996366262786</c:v>
                </c:pt>
                <c:pt idx="43">
                  <c:v>473.1787788367559</c:v>
                </c:pt>
                <c:pt idx="44">
                  <c:v>467.66266921097224</c:v>
                </c:pt>
                <c:pt idx="45">
                  <c:v>473.35115726256163</c:v>
                </c:pt>
                <c:pt idx="46">
                  <c:v>436.11741728852184</c:v>
                </c:pt>
                <c:pt idx="47">
                  <c:v>419.05195313375356</c:v>
                </c:pt>
                <c:pt idx="48">
                  <c:v>421.98238637245112</c:v>
                </c:pt>
                <c:pt idx="49">
                  <c:v>409.39876128863222</c:v>
                </c:pt>
                <c:pt idx="50">
                  <c:v>403.36551638543125</c:v>
                </c:pt>
                <c:pt idx="51">
                  <c:v>396.98751463061888</c:v>
                </c:pt>
                <c:pt idx="52">
                  <c:v>393.02281083708687</c:v>
                </c:pt>
                <c:pt idx="53">
                  <c:v>394.74659509514424</c:v>
                </c:pt>
                <c:pt idx="54">
                  <c:v>397.84940675964759</c:v>
                </c:pt>
                <c:pt idx="55">
                  <c:v>400.60746157253942</c:v>
                </c:pt>
                <c:pt idx="56">
                  <c:v>406.12357119832308</c:v>
                </c:pt>
                <c:pt idx="57">
                  <c:v>411.81205924991258</c:v>
                </c:pt>
                <c:pt idx="58">
                  <c:v>406.12357119832308</c:v>
                </c:pt>
                <c:pt idx="59">
                  <c:v>428.70514497887507</c:v>
                </c:pt>
                <c:pt idx="60">
                  <c:v>414.0529787853871</c:v>
                </c:pt>
                <c:pt idx="61">
                  <c:v>392.85043241128113</c:v>
                </c:pt>
                <c:pt idx="62">
                  <c:v>395.09135194675576</c:v>
                </c:pt>
                <c:pt idx="63">
                  <c:v>366.64891168880865</c:v>
                </c:pt>
                <c:pt idx="64">
                  <c:v>303.73078626971363</c:v>
                </c:pt>
                <c:pt idx="65">
                  <c:v>322.17527783092777</c:v>
                </c:pt>
                <c:pt idx="66">
                  <c:v>304.59267839874229</c:v>
                </c:pt>
                <c:pt idx="67">
                  <c:v>312.52208598580631</c:v>
                </c:pt>
                <c:pt idx="68">
                  <c:v>322.69241310834502</c:v>
                </c:pt>
                <c:pt idx="69">
                  <c:v>311.66019385677765</c:v>
                </c:pt>
                <c:pt idx="70">
                  <c:v>326.31236005026557</c:v>
                </c:pt>
                <c:pt idx="71">
                  <c:v>364.40799215333408</c:v>
                </c:pt>
                <c:pt idx="72">
                  <c:v>324.4161973664024</c:v>
                </c:pt>
                <c:pt idx="73">
                  <c:v>300.80035303101602</c:v>
                </c:pt>
                <c:pt idx="74">
                  <c:v>292.52618859234053</c:v>
                </c:pt>
                <c:pt idx="75">
                  <c:v>284.94153785688798</c:v>
                </c:pt>
                <c:pt idx="76">
                  <c:v>288.56148479880852</c:v>
                </c:pt>
                <c:pt idx="77">
                  <c:v>292.3538101665348</c:v>
                </c:pt>
                <c:pt idx="78">
                  <c:v>271.15126379242878</c:v>
                </c:pt>
                <c:pt idx="79">
                  <c:v>283.73488887624779</c:v>
                </c:pt>
                <c:pt idx="80">
                  <c:v>281.49396934077316</c:v>
                </c:pt>
                <c:pt idx="81">
                  <c:v>276.49499499240676</c:v>
                </c:pt>
                <c:pt idx="82">
                  <c:v>268.56558740534268</c:v>
                </c:pt>
                <c:pt idx="83">
                  <c:v>265.97991101825659</c:v>
                </c:pt>
                <c:pt idx="84">
                  <c:v>258.56763870860976</c:v>
                </c:pt>
                <c:pt idx="85">
                  <c:v>253.05152908282608</c:v>
                </c:pt>
                <c:pt idx="86">
                  <c:v>233.74514539258325</c:v>
                </c:pt>
                <c:pt idx="87">
                  <c:v>224.43671039907329</c:v>
                </c:pt>
                <c:pt idx="88">
                  <c:v>211.16357161203135</c:v>
                </c:pt>
                <c:pt idx="89">
                  <c:v>216.33492438620354</c:v>
                </c:pt>
                <c:pt idx="90">
                  <c:v>202.19989347013285</c:v>
                </c:pt>
                <c:pt idx="91">
                  <c:v>200.82086606368694</c:v>
                </c:pt>
                <c:pt idx="92">
                  <c:v>192.20194477339996</c:v>
                </c:pt>
                <c:pt idx="93">
                  <c:v>180.99734709602686</c:v>
                </c:pt>
                <c:pt idx="94">
                  <c:v>170.13750627026522</c:v>
                </c:pt>
                <c:pt idx="95">
                  <c:v>160.65669285094955</c:v>
                </c:pt>
                <c:pt idx="96">
                  <c:v>148.417824618742</c:v>
                </c:pt>
                <c:pt idx="97">
                  <c:v>149.96923045099368</c:v>
                </c:pt>
                <c:pt idx="98">
                  <c:v>139.79890332845503</c:v>
                </c:pt>
                <c:pt idx="99">
                  <c:v>131.86949574139098</c:v>
                </c:pt>
                <c:pt idx="100">
                  <c:v>121.00965491562937</c:v>
                </c:pt>
                <c:pt idx="101">
                  <c:v>118.59635695434902</c:v>
                </c:pt>
                <c:pt idx="102">
                  <c:v>114.11451788339978</c:v>
                </c:pt>
                <c:pt idx="103">
                  <c:v>107.7365161285874</c:v>
                </c:pt>
                <c:pt idx="104">
                  <c:v>105.32321816730706</c:v>
                </c:pt>
                <c:pt idx="105">
                  <c:v>102.73754178022095</c:v>
                </c:pt>
                <c:pt idx="106">
                  <c:v>89.981538270596204</c:v>
                </c:pt>
                <c:pt idx="107">
                  <c:v>81.017860128697734</c:v>
                </c:pt>
                <c:pt idx="108">
                  <c:v>75.501750502914049</c:v>
                </c:pt>
                <c:pt idx="109">
                  <c:v>72.571317264216475</c:v>
                </c:pt>
                <c:pt idx="110">
                  <c:v>69.296127173907422</c:v>
                </c:pt>
                <c:pt idx="111">
                  <c:v>69.12374874810169</c:v>
                </c:pt>
                <c:pt idx="112">
                  <c:v>65.503801806181144</c:v>
                </c:pt>
                <c:pt idx="113">
                  <c:v>64.12477439973523</c:v>
                </c:pt>
                <c:pt idx="114">
                  <c:v>60.160070606203206</c:v>
                </c:pt>
                <c:pt idx="115">
                  <c:v>52.403041444944911</c:v>
                </c:pt>
                <c:pt idx="116">
                  <c:v>51.541149315916215</c:v>
                </c:pt>
                <c:pt idx="117">
                  <c:v>48.438337651412894</c:v>
                </c:pt>
                <c:pt idx="118">
                  <c:v>48.61071607721864</c:v>
                </c:pt>
                <c:pt idx="119">
                  <c:v>43.611741728852188</c:v>
                </c:pt>
                <c:pt idx="120">
                  <c:v>41.887957470794781</c:v>
                </c:pt>
                <c:pt idx="121">
                  <c:v>43.094606451434963</c:v>
                </c:pt>
                <c:pt idx="122">
                  <c:v>39.647037935320171</c:v>
                </c:pt>
                <c:pt idx="123">
                  <c:v>35.854712567593893</c:v>
                </c:pt>
                <c:pt idx="124">
                  <c:v>32.407144051479094</c:v>
                </c:pt>
                <c:pt idx="125">
                  <c:v>31.372873496644651</c:v>
                </c:pt>
                <c:pt idx="126">
                  <c:v>28.959575535364294</c:v>
                </c:pt>
                <c:pt idx="127">
                  <c:v>23.44346590958062</c:v>
                </c:pt>
                <c:pt idx="128">
                  <c:v>20.513032670883042</c:v>
                </c:pt>
                <c:pt idx="129">
                  <c:v>18.616869987019903</c:v>
                </c:pt>
                <c:pt idx="130">
                  <c:v>15.514058322516586</c:v>
                </c:pt>
                <c:pt idx="131">
                  <c:v>14.996923045099367</c:v>
                </c:pt>
                <c:pt idx="132">
                  <c:v>14.996923045099367</c:v>
                </c:pt>
                <c:pt idx="133">
                  <c:v>13.44551721284771</c:v>
                </c:pt>
                <c:pt idx="134">
                  <c:v>11.204597677373091</c:v>
                </c:pt>
                <c:pt idx="135">
                  <c:v>8.7912997160927322</c:v>
                </c:pt>
                <c:pt idx="136">
                  <c:v>7.9294075870640341</c:v>
                </c:pt>
                <c:pt idx="137">
                  <c:v>8.2741644386755144</c:v>
                </c:pt>
                <c:pt idx="138">
                  <c:v>8.6189212902869929</c:v>
                </c:pt>
                <c:pt idx="139">
                  <c:v>8.7912997160927322</c:v>
                </c:pt>
                <c:pt idx="140">
                  <c:v>8.1017860128697734</c:v>
                </c:pt>
                <c:pt idx="141">
                  <c:v>7.9294075870640341</c:v>
                </c:pt>
                <c:pt idx="142">
                  <c:v>9.3084349935099517</c:v>
                </c:pt>
                <c:pt idx="143">
                  <c:v>8.9636781418984732</c:v>
                </c:pt>
                <c:pt idx="144">
                  <c:v>7.9294075870640341</c:v>
                </c:pt>
                <c:pt idx="145">
                  <c:v>7.0675154580353343</c:v>
                </c:pt>
                <c:pt idx="146">
                  <c:v>7.5846507354525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C$2:$C$169</c:f>
              <c:numCache>
                <c:formatCode>General</c:formatCode>
                <c:ptCount val="16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14A-45E8-87A1-7BD2345ADB4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75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D$2:$D$169</c:f>
              <c:numCache>
                <c:formatCode>General</c:formatCode>
                <c:ptCount val="168"/>
                <c:pt idx="119">
                  <c:v>44.301255432075145</c:v>
                </c:pt>
                <c:pt idx="120">
                  <c:v>41.543200619183303</c:v>
                </c:pt>
                <c:pt idx="121">
                  <c:v>38.957524232097207</c:v>
                </c:pt>
                <c:pt idx="122">
                  <c:v>36.54422627081685</c:v>
                </c:pt>
                <c:pt idx="123">
                  <c:v>34.475685161147972</c:v>
                </c:pt>
                <c:pt idx="124">
                  <c:v>32.407144051479094</c:v>
                </c:pt>
                <c:pt idx="125">
                  <c:v>30.510981367615958</c:v>
                </c:pt>
                <c:pt idx="126">
                  <c:v>28.787197109558555</c:v>
                </c:pt>
                <c:pt idx="127">
                  <c:v>27.235791277306898</c:v>
                </c:pt>
                <c:pt idx="128">
                  <c:v>25.684385445055238</c:v>
                </c:pt>
                <c:pt idx="129">
                  <c:v>24.30535803860932</c:v>
                </c:pt>
                <c:pt idx="130">
                  <c:v>22.926330632163399</c:v>
                </c:pt>
                <c:pt idx="131">
                  <c:v>21.719681651523224</c:v>
                </c:pt>
                <c:pt idx="132">
                  <c:v>20.513032670883042</c:v>
                </c:pt>
                <c:pt idx="133">
                  <c:v>19.478762116048603</c:v>
                </c:pt>
                <c:pt idx="134">
                  <c:v>18.444491561214164</c:v>
                </c:pt>
                <c:pt idx="135">
                  <c:v>17.410221006379725</c:v>
                </c:pt>
                <c:pt idx="136">
                  <c:v>16.548328877351029</c:v>
                </c:pt>
                <c:pt idx="137">
                  <c:v>15.686436748322325</c:v>
                </c:pt>
                <c:pt idx="138">
                  <c:v>14.996923045099367</c:v>
                </c:pt>
                <c:pt idx="139">
                  <c:v>14.307409341876408</c:v>
                </c:pt>
                <c:pt idx="140">
                  <c:v>13.617895638653449</c:v>
                </c:pt>
                <c:pt idx="141">
                  <c:v>12.928381935430489</c:v>
                </c:pt>
                <c:pt idx="142">
                  <c:v>12.411246658013269</c:v>
                </c:pt>
                <c:pt idx="143">
                  <c:v>11.72173295479031</c:v>
                </c:pt>
                <c:pt idx="144">
                  <c:v>11.204597677373091</c:v>
                </c:pt>
                <c:pt idx="145">
                  <c:v>10.687462399955871</c:v>
                </c:pt>
                <c:pt idx="146">
                  <c:v>10.170327122538652</c:v>
                </c:pt>
                <c:pt idx="147">
                  <c:v>9.653191845121432</c:v>
                </c:pt>
                <c:pt idx="148">
                  <c:v>9.3084349935099517</c:v>
                </c:pt>
                <c:pt idx="149">
                  <c:v>8.7912997160927322</c:v>
                </c:pt>
                <c:pt idx="150">
                  <c:v>8.4465428644812519</c:v>
                </c:pt>
                <c:pt idx="151">
                  <c:v>8.1017860128697734</c:v>
                </c:pt>
                <c:pt idx="152">
                  <c:v>7.7570291612582931</c:v>
                </c:pt>
                <c:pt idx="153">
                  <c:v>7.584650735452553</c:v>
                </c:pt>
                <c:pt idx="154">
                  <c:v>7.2398938838410736</c:v>
                </c:pt>
                <c:pt idx="155">
                  <c:v>6.8951370322295942</c:v>
                </c:pt>
                <c:pt idx="156">
                  <c:v>6.7227586064238549</c:v>
                </c:pt>
                <c:pt idx="157">
                  <c:v>6.5503801806181139</c:v>
                </c:pt>
                <c:pt idx="158">
                  <c:v>6.3780017548123746</c:v>
                </c:pt>
                <c:pt idx="159">
                  <c:v>6.2056233290066345</c:v>
                </c:pt>
                <c:pt idx="160">
                  <c:v>5.8608664773951551</c:v>
                </c:pt>
                <c:pt idx="161">
                  <c:v>5.688488051589415</c:v>
                </c:pt>
                <c:pt idx="162">
                  <c:v>5.5161096257836757</c:v>
                </c:pt>
                <c:pt idx="163">
                  <c:v>5.3437311999779356</c:v>
                </c:pt>
                <c:pt idx="164">
                  <c:v>5.1713527741721954</c:v>
                </c:pt>
                <c:pt idx="165">
                  <c:v>4.9989743483664562</c:v>
                </c:pt>
                <c:pt idx="166">
                  <c:v>4.826595922560716</c:v>
                </c:pt>
                <c:pt idx="167">
                  <c:v>4.8265959225607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14A-45E8-87A1-7BD2345ADB46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0,95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F$2:$F$169</c:f>
              <c:numCache>
                <c:formatCode>General</c:formatCode>
                <c:ptCount val="168"/>
                <c:pt idx="119">
                  <c:v>44.301255432075145</c:v>
                </c:pt>
                <c:pt idx="120">
                  <c:v>42.060335896600527</c:v>
                </c:pt>
                <c:pt idx="121">
                  <c:v>40.164173212737388</c:v>
                </c:pt>
                <c:pt idx="122">
                  <c:v>38.612767380485728</c:v>
                </c:pt>
                <c:pt idx="123">
                  <c:v>37.406118399845546</c:v>
                </c:pt>
                <c:pt idx="124">
                  <c:v>36.54422627081685</c:v>
                </c:pt>
                <c:pt idx="125">
                  <c:v>35.854712567593893</c:v>
                </c:pt>
                <c:pt idx="126">
                  <c:v>35.509955715982407</c:v>
                </c:pt>
                <c:pt idx="127">
                  <c:v>34.99282043856519</c:v>
                </c:pt>
                <c:pt idx="128">
                  <c:v>34.475685161147972</c:v>
                </c:pt>
                <c:pt idx="129">
                  <c:v>33.958549883730747</c:v>
                </c:pt>
                <c:pt idx="130">
                  <c:v>33.441414606313536</c:v>
                </c:pt>
                <c:pt idx="131">
                  <c:v>32.924279328896311</c:v>
                </c:pt>
                <c:pt idx="132">
                  <c:v>32.579522477284833</c:v>
                </c:pt>
                <c:pt idx="133">
                  <c:v>32.234765625673354</c:v>
                </c:pt>
                <c:pt idx="134">
                  <c:v>31.717630348256137</c:v>
                </c:pt>
                <c:pt idx="135">
                  <c:v>31.200495070838912</c:v>
                </c:pt>
                <c:pt idx="136">
                  <c:v>30.683359793421698</c:v>
                </c:pt>
                <c:pt idx="137">
                  <c:v>30.338602941810212</c:v>
                </c:pt>
                <c:pt idx="138">
                  <c:v>29.993846090198733</c:v>
                </c:pt>
                <c:pt idx="139">
                  <c:v>29.649089238587255</c:v>
                </c:pt>
                <c:pt idx="140">
                  <c:v>29.131953961170037</c:v>
                </c:pt>
                <c:pt idx="141">
                  <c:v>28.787197109558555</c:v>
                </c:pt>
                <c:pt idx="142">
                  <c:v>28.442440257947077</c:v>
                </c:pt>
                <c:pt idx="143">
                  <c:v>28.097683406335598</c:v>
                </c:pt>
                <c:pt idx="144">
                  <c:v>27.752926554724116</c:v>
                </c:pt>
                <c:pt idx="145">
                  <c:v>27.408169703112637</c:v>
                </c:pt>
                <c:pt idx="146">
                  <c:v>27.063412851501159</c:v>
                </c:pt>
                <c:pt idx="147">
                  <c:v>26.71865599988968</c:v>
                </c:pt>
                <c:pt idx="148">
                  <c:v>26.373899148278195</c:v>
                </c:pt>
                <c:pt idx="149">
                  <c:v>26.029142296666716</c:v>
                </c:pt>
                <c:pt idx="150">
                  <c:v>25.856763870860977</c:v>
                </c:pt>
                <c:pt idx="151">
                  <c:v>25.512007019249499</c:v>
                </c:pt>
                <c:pt idx="152">
                  <c:v>25.167250167638016</c:v>
                </c:pt>
                <c:pt idx="153">
                  <c:v>24.822493316026538</c:v>
                </c:pt>
                <c:pt idx="154">
                  <c:v>24.650114890220799</c:v>
                </c:pt>
                <c:pt idx="155">
                  <c:v>24.30535803860932</c:v>
                </c:pt>
                <c:pt idx="156">
                  <c:v>23.960601186997838</c:v>
                </c:pt>
                <c:pt idx="157">
                  <c:v>23.615844335386363</c:v>
                </c:pt>
                <c:pt idx="158">
                  <c:v>23.44346590958062</c:v>
                </c:pt>
                <c:pt idx="159">
                  <c:v>23.271087483774881</c:v>
                </c:pt>
                <c:pt idx="160">
                  <c:v>22.926330632163399</c:v>
                </c:pt>
                <c:pt idx="161">
                  <c:v>22.581573780551921</c:v>
                </c:pt>
                <c:pt idx="162">
                  <c:v>22.409195354746181</c:v>
                </c:pt>
                <c:pt idx="163">
                  <c:v>22.236816928940442</c:v>
                </c:pt>
                <c:pt idx="164">
                  <c:v>22.064438503134703</c:v>
                </c:pt>
                <c:pt idx="165">
                  <c:v>21.719681651523224</c:v>
                </c:pt>
                <c:pt idx="166">
                  <c:v>21.374924799911742</c:v>
                </c:pt>
                <c:pt idx="167">
                  <c:v>21.202546374106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14A-45E8-87A1-7BD2345ADB46}"/>
            </c:ext>
          </c:extLst>
        </c:ser>
        <c:ser>
          <c:idx val="5"/>
          <c:order val="4"/>
          <c:tx>
            <c:strRef>
              <c:f>Sheet1!$G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G$2:$G$169</c:f>
              <c:numCache>
                <c:formatCode>General</c:formatCode>
                <c:ptCount val="168"/>
                <c:pt idx="119">
                  <c:v>44.301255432075145</c:v>
                </c:pt>
                <c:pt idx="120">
                  <c:v>42.577471174017745</c:v>
                </c:pt>
                <c:pt idx="121">
                  <c:v>41.543200619183303</c:v>
                </c:pt>
                <c:pt idx="122">
                  <c:v>41.026065341766085</c:v>
                </c:pt>
                <c:pt idx="123">
                  <c:v>40.853686915960346</c:v>
                </c:pt>
                <c:pt idx="124">
                  <c:v>41.026065341766085</c:v>
                </c:pt>
                <c:pt idx="125">
                  <c:v>41.715579044989042</c:v>
                </c:pt>
                <c:pt idx="126">
                  <c:v>43.094606451434963</c:v>
                </c:pt>
                <c:pt idx="127">
                  <c:v>43.956498580463666</c:v>
                </c:pt>
                <c:pt idx="128">
                  <c:v>44.473633857880884</c:v>
                </c:pt>
                <c:pt idx="129">
                  <c:v>45.163147561103841</c:v>
                </c:pt>
                <c:pt idx="130">
                  <c:v>46.025039690132544</c:v>
                </c:pt>
                <c:pt idx="131">
                  <c:v>47.05931024496698</c:v>
                </c:pt>
                <c:pt idx="132">
                  <c:v>48.265959225607155</c:v>
                </c:pt>
                <c:pt idx="133">
                  <c:v>49.300229780441597</c:v>
                </c:pt>
                <c:pt idx="134">
                  <c:v>50.162121909470294</c:v>
                </c:pt>
                <c:pt idx="135">
                  <c:v>51.196392464304736</c:v>
                </c:pt>
                <c:pt idx="136">
                  <c:v>52.230663019139172</c:v>
                </c:pt>
                <c:pt idx="137">
                  <c:v>53.437311999779361</c:v>
                </c:pt>
                <c:pt idx="138">
                  <c:v>54.643960980419536</c:v>
                </c:pt>
                <c:pt idx="139">
                  <c:v>55.678231535253978</c:v>
                </c:pt>
                <c:pt idx="140">
                  <c:v>56.712502090088414</c:v>
                </c:pt>
                <c:pt idx="141">
                  <c:v>57.919151070728589</c:v>
                </c:pt>
                <c:pt idx="142">
                  <c:v>59.12580005136877</c:v>
                </c:pt>
                <c:pt idx="143">
                  <c:v>60.332449032008945</c:v>
                </c:pt>
                <c:pt idx="144">
                  <c:v>61.539098012649134</c:v>
                </c:pt>
                <c:pt idx="145">
                  <c:v>62.745746993289302</c:v>
                </c:pt>
                <c:pt idx="146">
                  <c:v>63.952395973929491</c:v>
                </c:pt>
                <c:pt idx="147">
                  <c:v>65.159044954569666</c:v>
                </c:pt>
                <c:pt idx="148">
                  <c:v>66.365693935209848</c:v>
                </c:pt>
                <c:pt idx="149">
                  <c:v>67.744721341655762</c:v>
                </c:pt>
                <c:pt idx="150">
                  <c:v>69.12374874810169</c:v>
                </c:pt>
                <c:pt idx="151">
                  <c:v>70.502776154547604</c:v>
                </c:pt>
                <c:pt idx="152">
                  <c:v>71.881803560993518</c:v>
                </c:pt>
                <c:pt idx="153">
                  <c:v>73.433209393245178</c:v>
                </c:pt>
                <c:pt idx="154">
                  <c:v>74.984615225496839</c:v>
                </c:pt>
                <c:pt idx="155">
                  <c:v>76.536021057748499</c:v>
                </c:pt>
                <c:pt idx="156">
                  <c:v>77.915048464194413</c:v>
                </c:pt>
                <c:pt idx="157">
                  <c:v>79.466454296446074</c:v>
                </c:pt>
                <c:pt idx="158">
                  <c:v>81.017860128697734</c:v>
                </c:pt>
                <c:pt idx="159">
                  <c:v>82.569265960949394</c:v>
                </c:pt>
                <c:pt idx="160">
                  <c:v>84.120671793201055</c:v>
                </c:pt>
                <c:pt idx="161">
                  <c:v>85.672077625452701</c:v>
                </c:pt>
                <c:pt idx="162">
                  <c:v>87.395861883510108</c:v>
                </c:pt>
                <c:pt idx="163">
                  <c:v>89.1196461415675</c:v>
                </c:pt>
                <c:pt idx="164">
                  <c:v>90.843430399624907</c:v>
                </c:pt>
                <c:pt idx="165">
                  <c:v>92.5672146576823</c:v>
                </c:pt>
                <c:pt idx="166">
                  <c:v>94.463377341545453</c:v>
                </c:pt>
                <c:pt idx="167">
                  <c:v>96.1871615996028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31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24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B$155:$B$322</c:f>
              <c:numCache>
                <c:formatCode>0</c:formatCode>
                <c:ptCount val="168"/>
                <c:pt idx="0">
                  <c:v>616</c:v>
                </c:pt>
                <c:pt idx="1">
                  <c:v>653</c:v>
                </c:pt>
                <c:pt idx="2">
                  <c:v>565</c:v>
                </c:pt>
                <c:pt idx="3">
                  <c:v>525</c:v>
                </c:pt>
                <c:pt idx="4">
                  <c:v>752</c:v>
                </c:pt>
                <c:pt idx="5">
                  <c:v>296</c:v>
                </c:pt>
                <c:pt idx="6">
                  <c:v>178</c:v>
                </c:pt>
                <c:pt idx="7">
                  <c:v>507</c:v>
                </c:pt>
                <c:pt idx="8">
                  <c:v>714</c:v>
                </c:pt>
                <c:pt idx="9">
                  <c:v>640</c:v>
                </c:pt>
                <c:pt idx="10">
                  <c:v>611</c:v>
                </c:pt>
                <c:pt idx="11">
                  <c:v>585</c:v>
                </c:pt>
                <c:pt idx="12">
                  <c:v>366</c:v>
                </c:pt>
                <c:pt idx="13">
                  <c:v>169</c:v>
                </c:pt>
                <c:pt idx="14">
                  <c:v>657</c:v>
                </c:pt>
                <c:pt idx="15">
                  <c:v>881</c:v>
                </c:pt>
                <c:pt idx="16">
                  <c:v>820</c:v>
                </c:pt>
                <c:pt idx="17">
                  <c:v>693</c:v>
                </c:pt>
                <c:pt idx="18">
                  <c:v>790</c:v>
                </c:pt>
                <c:pt idx="19">
                  <c:v>499</c:v>
                </c:pt>
                <c:pt idx="20">
                  <c:v>206</c:v>
                </c:pt>
                <c:pt idx="21">
                  <c:v>755</c:v>
                </c:pt>
                <c:pt idx="22">
                  <c:v>1210</c:v>
                </c:pt>
                <c:pt idx="23">
                  <c:v>985</c:v>
                </c:pt>
                <c:pt idx="24">
                  <c:v>1033</c:v>
                </c:pt>
                <c:pt idx="25">
                  <c:v>952</c:v>
                </c:pt>
                <c:pt idx="26">
                  <c:v>555</c:v>
                </c:pt>
                <c:pt idx="27">
                  <c:v>291</c:v>
                </c:pt>
                <c:pt idx="28">
                  <c:v>1030</c:v>
                </c:pt>
                <c:pt idx="29">
                  <c:v>1205</c:v>
                </c:pt>
                <c:pt idx="30">
                  <c:v>985</c:v>
                </c:pt>
                <c:pt idx="31">
                  <c:v>1023</c:v>
                </c:pt>
                <c:pt idx="32">
                  <c:v>823</c:v>
                </c:pt>
                <c:pt idx="33">
                  <c:v>674</c:v>
                </c:pt>
                <c:pt idx="34">
                  <c:v>255</c:v>
                </c:pt>
                <c:pt idx="35">
                  <c:v>959</c:v>
                </c:pt>
                <c:pt idx="36">
                  <c:v>1147</c:v>
                </c:pt>
                <c:pt idx="37">
                  <c:v>858</c:v>
                </c:pt>
                <c:pt idx="38">
                  <c:v>959</c:v>
                </c:pt>
                <c:pt idx="39">
                  <c:v>1013</c:v>
                </c:pt>
                <c:pt idx="40">
                  <c:v>467</c:v>
                </c:pt>
                <c:pt idx="41">
                  <c:v>165</c:v>
                </c:pt>
                <c:pt idx="42">
                  <c:v>1420</c:v>
                </c:pt>
                <c:pt idx="43">
                  <c:v>1049</c:v>
                </c:pt>
                <c:pt idx="44">
                  <c:v>1049</c:v>
                </c:pt>
                <c:pt idx="45">
                  <c:v>1003</c:v>
                </c:pt>
                <c:pt idx="46">
                  <c:v>763</c:v>
                </c:pt>
                <c:pt idx="47">
                  <c:v>452</c:v>
                </c:pt>
                <c:pt idx="48">
                  <c:v>224</c:v>
                </c:pt>
                <c:pt idx="49">
                  <c:v>884</c:v>
                </c:pt>
                <c:pt idx="50">
                  <c:v>1006</c:v>
                </c:pt>
                <c:pt idx="51">
                  <c:v>868</c:v>
                </c:pt>
                <c:pt idx="52">
                  <c:v>759</c:v>
                </c:pt>
                <c:pt idx="53">
                  <c:v>765</c:v>
                </c:pt>
                <c:pt idx="54">
                  <c:v>474</c:v>
                </c:pt>
                <c:pt idx="55">
                  <c:v>166</c:v>
                </c:pt>
                <c:pt idx="56">
                  <c:v>757</c:v>
                </c:pt>
                <c:pt idx="57">
                  <c:v>870</c:v>
                </c:pt>
                <c:pt idx="58">
                  <c:v>802</c:v>
                </c:pt>
                <c:pt idx="59">
                  <c:v>766</c:v>
                </c:pt>
                <c:pt idx="60">
                  <c:v>265</c:v>
                </c:pt>
                <c:pt idx="61">
                  <c:v>274</c:v>
                </c:pt>
                <c:pt idx="62">
                  <c:v>280</c:v>
                </c:pt>
                <c:pt idx="63">
                  <c:v>137</c:v>
                </c:pt>
                <c:pt idx="64">
                  <c:v>750</c:v>
                </c:pt>
                <c:pt idx="65">
                  <c:v>744</c:v>
                </c:pt>
                <c:pt idx="66">
                  <c:v>675</c:v>
                </c:pt>
                <c:pt idx="67">
                  <c:v>546</c:v>
                </c:pt>
                <c:pt idx="68">
                  <c:v>304</c:v>
                </c:pt>
                <c:pt idx="69">
                  <c:v>104</c:v>
                </c:pt>
                <c:pt idx="70">
                  <c:v>605</c:v>
                </c:pt>
                <c:pt idx="71">
                  <c:v>589</c:v>
                </c:pt>
                <c:pt idx="72">
                  <c:v>553</c:v>
                </c:pt>
                <c:pt idx="73">
                  <c:v>411</c:v>
                </c:pt>
                <c:pt idx="74">
                  <c:v>423</c:v>
                </c:pt>
                <c:pt idx="75">
                  <c:v>205</c:v>
                </c:pt>
                <c:pt idx="76">
                  <c:v>138</c:v>
                </c:pt>
                <c:pt idx="77">
                  <c:v>448</c:v>
                </c:pt>
                <c:pt idx="78">
                  <c:v>502</c:v>
                </c:pt>
                <c:pt idx="79">
                  <c:v>368</c:v>
                </c:pt>
                <c:pt idx="80">
                  <c:v>335</c:v>
                </c:pt>
                <c:pt idx="81">
                  <c:v>319</c:v>
                </c:pt>
                <c:pt idx="82">
                  <c:v>247</c:v>
                </c:pt>
                <c:pt idx="83">
                  <c:v>89</c:v>
                </c:pt>
                <c:pt idx="84">
                  <c:v>320</c:v>
                </c:pt>
                <c:pt idx="85">
                  <c:v>480</c:v>
                </c:pt>
                <c:pt idx="86">
                  <c:v>370</c:v>
                </c:pt>
                <c:pt idx="87">
                  <c:v>227</c:v>
                </c:pt>
                <c:pt idx="88">
                  <c:v>305</c:v>
                </c:pt>
                <c:pt idx="89">
                  <c:v>160</c:v>
                </c:pt>
                <c:pt idx="90">
                  <c:v>67</c:v>
                </c:pt>
                <c:pt idx="91">
                  <c:v>325</c:v>
                </c:pt>
                <c:pt idx="92">
                  <c:v>349</c:v>
                </c:pt>
                <c:pt idx="93">
                  <c:v>275</c:v>
                </c:pt>
                <c:pt idx="94">
                  <c:v>209</c:v>
                </c:pt>
                <c:pt idx="95">
                  <c:v>235</c:v>
                </c:pt>
                <c:pt idx="96">
                  <c:v>131</c:v>
                </c:pt>
                <c:pt idx="97">
                  <c:v>55</c:v>
                </c:pt>
                <c:pt idx="98">
                  <c:v>299</c:v>
                </c:pt>
                <c:pt idx="99">
                  <c:v>252</c:v>
                </c:pt>
                <c:pt idx="100">
                  <c:v>163</c:v>
                </c:pt>
                <c:pt idx="101">
                  <c:v>244</c:v>
                </c:pt>
                <c:pt idx="102">
                  <c:v>175</c:v>
                </c:pt>
                <c:pt idx="103">
                  <c:v>96</c:v>
                </c:pt>
                <c:pt idx="104">
                  <c:v>44</c:v>
                </c:pt>
                <c:pt idx="105">
                  <c:v>161</c:v>
                </c:pt>
                <c:pt idx="106">
                  <c:v>203</c:v>
                </c:pt>
                <c:pt idx="107">
                  <c:v>109</c:v>
                </c:pt>
                <c:pt idx="108">
                  <c:v>115</c:v>
                </c:pt>
                <c:pt idx="109">
                  <c:v>81</c:v>
                </c:pt>
                <c:pt idx="110">
                  <c:v>72</c:v>
                </c:pt>
                <c:pt idx="111">
                  <c:v>26</c:v>
                </c:pt>
                <c:pt idx="112">
                  <c:v>124</c:v>
                </c:pt>
                <c:pt idx="113">
                  <c:v>94</c:v>
                </c:pt>
                <c:pt idx="114">
                  <c:v>81</c:v>
                </c:pt>
                <c:pt idx="115">
                  <c:v>82</c:v>
                </c:pt>
                <c:pt idx="116">
                  <c:v>52</c:v>
                </c:pt>
                <c:pt idx="117">
                  <c:v>23</c:v>
                </c:pt>
                <c:pt idx="118">
                  <c:v>21</c:v>
                </c:pt>
                <c:pt idx="119">
                  <c:v>69</c:v>
                </c:pt>
                <c:pt idx="120">
                  <c:v>78</c:v>
                </c:pt>
                <c:pt idx="121">
                  <c:v>48</c:v>
                </c:pt>
                <c:pt idx="122">
                  <c:v>55</c:v>
                </c:pt>
                <c:pt idx="123">
                  <c:v>43</c:v>
                </c:pt>
                <c:pt idx="124">
                  <c:v>18</c:v>
                </c:pt>
                <c:pt idx="125">
                  <c:v>10</c:v>
                </c:pt>
                <c:pt idx="126">
                  <c:v>46</c:v>
                </c:pt>
                <c:pt idx="127">
                  <c:v>35</c:v>
                </c:pt>
                <c:pt idx="128">
                  <c:v>36</c:v>
                </c:pt>
                <c:pt idx="129">
                  <c:v>19</c:v>
                </c:pt>
                <c:pt idx="130">
                  <c:v>17</c:v>
                </c:pt>
                <c:pt idx="131">
                  <c:v>17</c:v>
                </c:pt>
                <c:pt idx="132">
                  <c:v>7</c:v>
                </c:pt>
                <c:pt idx="133">
                  <c:v>15</c:v>
                </c:pt>
                <c:pt idx="134">
                  <c:v>23</c:v>
                </c:pt>
                <c:pt idx="135">
                  <c:v>14</c:v>
                </c:pt>
                <c:pt idx="136">
                  <c:v>25</c:v>
                </c:pt>
                <c:pt idx="137">
                  <c:v>15</c:v>
                </c:pt>
                <c:pt idx="138">
                  <c:v>5</c:v>
                </c:pt>
                <c:pt idx="139">
                  <c:v>6</c:v>
                </c:pt>
                <c:pt idx="140">
                  <c:v>15</c:v>
                </c:pt>
                <c:pt idx="141">
                  <c:v>15</c:v>
                </c:pt>
                <c:pt idx="142">
                  <c:v>16</c:v>
                </c:pt>
                <c:pt idx="143">
                  <c:v>6</c:v>
                </c:pt>
                <c:pt idx="144">
                  <c:v>15</c:v>
                </c:pt>
                <c:pt idx="145">
                  <c:v>6</c:v>
                </c:pt>
                <c:pt idx="146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C$155:$C$322</c:f>
              <c:numCache>
                <c:formatCode>General</c:formatCode>
                <c:ptCount val="16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14A-45E8-87A1-7BD2345ADB4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70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D$155:$D$322</c:f>
              <c:numCache>
                <c:formatCode>General</c:formatCode>
                <c:ptCount val="168"/>
                <c:pt idx="119">
                  <c:v>50</c:v>
                </c:pt>
                <c:pt idx="120">
                  <c:v>47</c:v>
                </c:pt>
                <c:pt idx="121">
                  <c:v>45</c:v>
                </c:pt>
                <c:pt idx="122">
                  <c:v>42</c:v>
                </c:pt>
                <c:pt idx="123">
                  <c:v>39</c:v>
                </c:pt>
                <c:pt idx="124">
                  <c:v>37</c:v>
                </c:pt>
                <c:pt idx="125">
                  <c:v>35</c:v>
                </c:pt>
                <c:pt idx="126">
                  <c:v>33</c:v>
                </c:pt>
                <c:pt idx="127">
                  <c:v>32</c:v>
                </c:pt>
                <c:pt idx="128">
                  <c:v>30</c:v>
                </c:pt>
                <c:pt idx="129">
                  <c:v>28</c:v>
                </c:pt>
                <c:pt idx="130">
                  <c:v>27</c:v>
                </c:pt>
                <c:pt idx="131">
                  <c:v>25</c:v>
                </c:pt>
                <c:pt idx="132">
                  <c:v>24</c:v>
                </c:pt>
                <c:pt idx="133">
                  <c:v>23</c:v>
                </c:pt>
                <c:pt idx="134">
                  <c:v>22</c:v>
                </c:pt>
                <c:pt idx="135">
                  <c:v>21</c:v>
                </c:pt>
                <c:pt idx="136">
                  <c:v>19</c:v>
                </c:pt>
                <c:pt idx="137">
                  <c:v>18</c:v>
                </c:pt>
                <c:pt idx="138">
                  <c:v>18</c:v>
                </c:pt>
                <c:pt idx="139">
                  <c:v>17</c:v>
                </c:pt>
                <c:pt idx="140">
                  <c:v>16</c:v>
                </c:pt>
                <c:pt idx="141">
                  <c:v>15</c:v>
                </c:pt>
                <c:pt idx="142">
                  <c:v>15</c:v>
                </c:pt>
                <c:pt idx="143">
                  <c:v>14</c:v>
                </c:pt>
                <c:pt idx="144">
                  <c:v>13</c:v>
                </c:pt>
                <c:pt idx="145">
                  <c:v>13</c:v>
                </c:pt>
                <c:pt idx="146">
                  <c:v>12</c:v>
                </c:pt>
                <c:pt idx="147">
                  <c:v>12</c:v>
                </c:pt>
                <c:pt idx="148">
                  <c:v>11</c:v>
                </c:pt>
                <c:pt idx="149">
                  <c:v>11</c:v>
                </c:pt>
                <c:pt idx="150">
                  <c:v>10</c:v>
                </c:pt>
                <c:pt idx="151">
                  <c:v>10</c:v>
                </c:pt>
                <c:pt idx="152">
                  <c:v>10</c:v>
                </c:pt>
                <c:pt idx="153">
                  <c:v>9</c:v>
                </c:pt>
                <c:pt idx="154">
                  <c:v>9</c:v>
                </c:pt>
                <c:pt idx="155">
                  <c:v>9</c:v>
                </c:pt>
                <c:pt idx="156">
                  <c:v>9</c:v>
                </c:pt>
                <c:pt idx="157">
                  <c:v>8</c:v>
                </c:pt>
                <c:pt idx="158">
                  <c:v>8</c:v>
                </c:pt>
                <c:pt idx="159">
                  <c:v>8</c:v>
                </c:pt>
                <c:pt idx="160">
                  <c:v>7</c:v>
                </c:pt>
                <c:pt idx="161">
                  <c:v>7</c:v>
                </c:pt>
                <c:pt idx="162">
                  <c:v>7</c:v>
                </c:pt>
                <c:pt idx="163">
                  <c:v>7</c:v>
                </c:pt>
                <c:pt idx="164">
                  <c:v>7</c:v>
                </c:pt>
                <c:pt idx="165">
                  <c:v>7</c:v>
                </c:pt>
                <c:pt idx="166">
                  <c:v>6</c:v>
                </c:pt>
                <c:pt idx="167">
                  <c:v>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14A-45E8-87A1-7BD2345ADB46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0,90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F$155:$F$322</c:f>
              <c:numCache>
                <c:formatCode>General</c:formatCode>
                <c:ptCount val="168"/>
                <c:pt idx="119">
                  <c:v>50</c:v>
                </c:pt>
                <c:pt idx="120">
                  <c:v>52</c:v>
                </c:pt>
                <c:pt idx="121">
                  <c:v>52</c:v>
                </c:pt>
                <c:pt idx="122">
                  <c:v>51</c:v>
                </c:pt>
                <c:pt idx="123">
                  <c:v>49</c:v>
                </c:pt>
                <c:pt idx="124">
                  <c:v>48</c:v>
                </c:pt>
                <c:pt idx="125">
                  <c:v>47</c:v>
                </c:pt>
                <c:pt idx="126">
                  <c:v>47</c:v>
                </c:pt>
                <c:pt idx="127">
                  <c:v>47</c:v>
                </c:pt>
                <c:pt idx="128">
                  <c:v>46</c:v>
                </c:pt>
                <c:pt idx="129">
                  <c:v>45</c:v>
                </c:pt>
                <c:pt idx="130">
                  <c:v>44</c:v>
                </c:pt>
                <c:pt idx="131">
                  <c:v>44</c:v>
                </c:pt>
                <c:pt idx="132">
                  <c:v>43</c:v>
                </c:pt>
                <c:pt idx="133">
                  <c:v>43</c:v>
                </c:pt>
                <c:pt idx="134">
                  <c:v>42</c:v>
                </c:pt>
                <c:pt idx="135">
                  <c:v>42</c:v>
                </c:pt>
                <c:pt idx="136">
                  <c:v>41</c:v>
                </c:pt>
                <c:pt idx="137">
                  <c:v>40</c:v>
                </c:pt>
                <c:pt idx="138">
                  <c:v>40</c:v>
                </c:pt>
                <c:pt idx="139">
                  <c:v>39</c:v>
                </c:pt>
                <c:pt idx="140">
                  <c:v>39</c:v>
                </c:pt>
                <c:pt idx="141">
                  <c:v>38</c:v>
                </c:pt>
                <c:pt idx="142">
                  <c:v>38</c:v>
                </c:pt>
                <c:pt idx="143">
                  <c:v>37</c:v>
                </c:pt>
                <c:pt idx="144">
                  <c:v>37</c:v>
                </c:pt>
                <c:pt idx="145">
                  <c:v>37</c:v>
                </c:pt>
                <c:pt idx="146">
                  <c:v>36</c:v>
                </c:pt>
                <c:pt idx="147">
                  <c:v>36</c:v>
                </c:pt>
                <c:pt idx="148">
                  <c:v>35</c:v>
                </c:pt>
                <c:pt idx="149">
                  <c:v>35</c:v>
                </c:pt>
                <c:pt idx="150">
                  <c:v>34</c:v>
                </c:pt>
                <c:pt idx="151">
                  <c:v>34</c:v>
                </c:pt>
                <c:pt idx="152">
                  <c:v>34</c:v>
                </c:pt>
                <c:pt idx="153">
                  <c:v>33</c:v>
                </c:pt>
                <c:pt idx="154">
                  <c:v>33</c:v>
                </c:pt>
                <c:pt idx="155">
                  <c:v>32</c:v>
                </c:pt>
                <c:pt idx="156">
                  <c:v>32</c:v>
                </c:pt>
                <c:pt idx="157">
                  <c:v>32</c:v>
                </c:pt>
                <c:pt idx="158">
                  <c:v>31</c:v>
                </c:pt>
                <c:pt idx="159">
                  <c:v>31</c:v>
                </c:pt>
                <c:pt idx="160">
                  <c:v>31</c:v>
                </c:pt>
                <c:pt idx="161">
                  <c:v>30</c:v>
                </c:pt>
                <c:pt idx="162">
                  <c:v>30</c:v>
                </c:pt>
                <c:pt idx="163">
                  <c:v>30</c:v>
                </c:pt>
                <c:pt idx="164">
                  <c:v>29</c:v>
                </c:pt>
                <c:pt idx="165">
                  <c:v>29</c:v>
                </c:pt>
                <c:pt idx="166">
                  <c:v>29</c:v>
                </c:pt>
                <c:pt idx="167">
                  <c:v>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14A-45E8-87A1-7BD2345ADB46}"/>
            </c:ext>
          </c:extLst>
        </c:ser>
        <c:ser>
          <c:idx val="5"/>
          <c:order val="4"/>
          <c:tx>
            <c:strRef>
              <c:f>Sheet1!$G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G$155:$G$322</c:f>
              <c:numCache>
                <c:formatCode>General</c:formatCode>
                <c:ptCount val="168"/>
                <c:pt idx="119">
                  <c:v>50</c:v>
                </c:pt>
                <c:pt idx="120">
                  <c:v>57</c:v>
                </c:pt>
                <c:pt idx="121">
                  <c:v>60</c:v>
                </c:pt>
                <c:pt idx="122">
                  <c:v>60</c:v>
                </c:pt>
                <c:pt idx="123">
                  <c:v>58</c:v>
                </c:pt>
                <c:pt idx="124">
                  <c:v>59</c:v>
                </c:pt>
                <c:pt idx="125">
                  <c:v>60</c:v>
                </c:pt>
                <c:pt idx="126">
                  <c:v>63</c:v>
                </c:pt>
                <c:pt idx="127">
                  <c:v>65</c:v>
                </c:pt>
                <c:pt idx="128">
                  <c:v>66</c:v>
                </c:pt>
                <c:pt idx="129">
                  <c:v>66</c:v>
                </c:pt>
                <c:pt idx="130">
                  <c:v>67</c:v>
                </c:pt>
                <c:pt idx="131">
                  <c:v>69</c:v>
                </c:pt>
                <c:pt idx="132">
                  <c:v>71</c:v>
                </c:pt>
                <c:pt idx="133">
                  <c:v>73</c:v>
                </c:pt>
                <c:pt idx="134">
                  <c:v>74</c:v>
                </c:pt>
                <c:pt idx="135">
                  <c:v>75</c:v>
                </c:pt>
                <c:pt idx="136">
                  <c:v>77</c:v>
                </c:pt>
                <c:pt idx="137">
                  <c:v>79</c:v>
                </c:pt>
                <c:pt idx="138">
                  <c:v>80</c:v>
                </c:pt>
                <c:pt idx="139">
                  <c:v>82</c:v>
                </c:pt>
                <c:pt idx="140">
                  <c:v>84</c:v>
                </c:pt>
                <c:pt idx="141">
                  <c:v>85</c:v>
                </c:pt>
                <c:pt idx="142">
                  <c:v>87</c:v>
                </c:pt>
                <c:pt idx="143">
                  <c:v>89</c:v>
                </c:pt>
                <c:pt idx="144">
                  <c:v>91</c:v>
                </c:pt>
                <c:pt idx="145">
                  <c:v>92</c:v>
                </c:pt>
                <c:pt idx="146">
                  <c:v>94</c:v>
                </c:pt>
                <c:pt idx="147">
                  <c:v>96</c:v>
                </c:pt>
                <c:pt idx="148">
                  <c:v>98</c:v>
                </c:pt>
                <c:pt idx="149">
                  <c:v>100</c:v>
                </c:pt>
                <c:pt idx="150">
                  <c:v>102</c:v>
                </c:pt>
                <c:pt idx="151">
                  <c:v>104</c:v>
                </c:pt>
                <c:pt idx="152">
                  <c:v>106</c:v>
                </c:pt>
                <c:pt idx="153">
                  <c:v>108</c:v>
                </c:pt>
                <c:pt idx="154">
                  <c:v>110</c:v>
                </c:pt>
                <c:pt idx="155">
                  <c:v>112</c:v>
                </c:pt>
                <c:pt idx="156">
                  <c:v>114</c:v>
                </c:pt>
                <c:pt idx="157">
                  <c:v>117</c:v>
                </c:pt>
                <c:pt idx="158">
                  <c:v>119</c:v>
                </c:pt>
                <c:pt idx="159">
                  <c:v>121</c:v>
                </c:pt>
                <c:pt idx="160">
                  <c:v>123</c:v>
                </c:pt>
                <c:pt idx="161">
                  <c:v>126</c:v>
                </c:pt>
                <c:pt idx="162">
                  <c:v>128</c:v>
                </c:pt>
                <c:pt idx="163">
                  <c:v>131</c:v>
                </c:pt>
                <c:pt idx="164">
                  <c:v>133</c:v>
                </c:pt>
                <c:pt idx="165">
                  <c:v>136</c:v>
                </c:pt>
                <c:pt idx="166">
                  <c:v>138</c:v>
                </c:pt>
                <c:pt idx="167">
                  <c:v>1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31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36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B$155:$B$322</c:f>
              <c:numCache>
                <c:formatCode>0</c:formatCode>
                <c:ptCount val="168"/>
                <c:pt idx="0">
                  <c:v>786</c:v>
                </c:pt>
                <c:pt idx="1">
                  <c:v>972</c:v>
                </c:pt>
                <c:pt idx="2">
                  <c:v>979</c:v>
                </c:pt>
                <c:pt idx="3">
                  <c:v>1061</c:v>
                </c:pt>
                <c:pt idx="4">
                  <c:v>896</c:v>
                </c:pt>
                <c:pt idx="5">
                  <c:v>596</c:v>
                </c:pt>
                <c:pt idx="6">
                  <c:v>338</c:v>
                </c:pt>
                <c:pt idx="7">
                  <c:v>1172</c:v>
                </c:pt>
                <c:pt idx="8">
                  <c:v>1150</c:v>
                </c:pt>
                <c:pt idx="9">
                  <c:v>992</c:v>
                </c:pt>
                <c:pt idx="10">
                  <c:v>1111</c:v>
                </c:pt>
                <c:pt idx="11">
                  <c:v>992</c:v>
                </c:pt>
                <c:pt idx="12">
                  <c:v>835</c:v>
                </c:pt>
                <c:pt idx="13">
                  <c:v>472</c:v>
                </c:pt>
                <c:pt idx="14">
                  <c:v>1083</c:v>
                </c:pt>
                <c:pt idx="15">
                  <c:v>1369</c:v>
                </c:pt>
                <c:pt idx="16">
                  <c:v>1344</c:v>
                </c:pt>
                <c:pt idx="17">
                  <c:v>1378</c:v>
                </c:pt>
                <c:pt idx="18">
                  <c:v>1224</c:v>
                </c:pt>
                <c:pt idx="19">
                  <c:v>976</c:v>
                </c:pt>
                <c:pt idx="20">
                  <c:v>790</c:v>
                </c:pt>
                <c:pt idx="21">
                  <c:v>1273</c:v>
                </c:pt>
                <c:pt idx="22">
                  <c:v>2041</c:v>
                </c:pt>
                <c:pt idx="23">
                  <c:v>1497</c:v>
                </c:pt>
                <c:pt idx="24">
                  <c:v>1678</c:v>
                </c:pt>
                <c:pt idx="25">
                  <c:v>1795</c:v>
                </c:pt>
                <c:pt idx="26">
                  <c:v>1264</c:v>
                </c:pt>
                <c:pt idx="27">
                  <c:v>947</c:v>
                </c:pt>
                <c:pt idx="28">
                  <c:v>1483</c:v>
                </c:pt>
                <c:pt idx="29">
                  <c:v>2013</c:v>
                </c:pt>
                <c:pt idx="30">
                  <c:v>1660</c:v>
                </c:pt>
                <c:pt idx="31">
                  <c:v>1850</c:v>
                </c:pt>
                <c:pt idx="32">
                  <c:v>1460</c:v>
                </c:pt>
                <c:pt idx="33">
                  <c:v>1284</c:v>
                </c:pt>
                <c:pt idx="34">
                  <c:v>643</c:v>
                </c:pt>
                <c:pt idx="35">
                  <c:v>1169</c:v>
                </c:pt>
                <c:pt idx="36">
                  <c:v>1786</c:v>
                </c:pt>
                <c:pt idx="37">
                  <c:v>1705</c:v>
                </c:pt>
                <c:pt idx="38">
                  <c:v>1118</c:v>
                </c:pt>
                <c:pt idx="39">
                  <c:v>1404</c:v>
                </c:pt>
                <c:pt idx="40">
                  <c:v>935</c:v>
                </c:pt>
                <c:pt idx="41">
                  <c:v>509</c:v>
                </c:pt>
                <c:pt idx="42">
                  <c:v>1015</c:v>
                </c:pt>
                <c:pt idx="43">
                  <c:v>1456</c:v>
                </c:pt>
                <c:pt idx="44">
                  <c:v>1208</c:v>
                </c:pt>
                <c:pt idx="45">
                  <c:v>1052</c:v>
                </c:pt>
                <c:pt idx="46">
                  <c:v>1195</c:v>
                </c:pt>
                <c:pt idx="47">
                  <c:v>644</c:v>
                </c:pt>
                <c:pt idx="48">
                  <c:v>337</c:v>
                </c:pt>
                <c:pt idx="49">
                  <c:v>881</c:v>
                </c:pt>
                <c:pt idx="50">
                  <c:v>1008</c:v>
                </c:pt>
                <c:pt idx="51">
                  <c:v>783</c:v>
                </c:pt>
                <c:pt idx="52">
                  <c:v>799</c:v>
                </c:pt>
                <c:pt idx="53">
                  <c:v>778</c:v>
                </c:pt>
                <c:pt idx="54">
                  <c:v>484</c:v>
                </c:pt>
                <c:pt idx="55">
                  <c:v>235</c:v>
                </c:pt>
                <c:pt idx="56">
                  <c:v>664</c:v>
                </c:pt>
                <c:pt idx="57">
                  <c:v>756</c:v>
                </c:pt>
                <c:pt idx="58">
                  <c:v>724</c:v>
                </c:pt>
                <c:pt idx="59">
                  <c:v>471</c:v>
                </c:pt>
                <c:pt idx="60">
                  <c:v>542</c:v>
                </c:pt>
                <c:pt idx="61">
                  <c:v>269</c:v>
                </c:pt>
                <c:pt idx="62">
                  <c:v>255</c:v>
                </c:pt>
                <c:pt idx="63">
                  <c:v>186</c:v>
                </c:pt>
                <c:pt idx="64">
                  <c:v>459</c:v>
                </c:pt>
                <c:pt idx="65">
                  <c:v>640</c:v>
                </c:pt>
                <c:pt idx="66">
                  <c:v>432</c:v>
                </c:pt>
                <c:pt idx="67">
                  <c:v>443</c:v>
                </c:pt>
                <c:pt idx="68">
                  <c:v>277</c:v>
                </c:pt>
                <c:pt idx="69">
                  <c:v>149</c:v>
                </c:pt>
                <c:pt idx="70">
                  <c:v>349</c:v>
                </c:pt>
                <c:pt idx="71">
                  <c:v>435</c:v>
                </c:pt>
                <c:pt idx="72">
                  <c:v>351</c:v>
                </c:pt>
                <c:pt idx="73">
                  <c:v>269</c:v>
                </c:pt>
                <c:pt idx="74">
                  <c:v>344</c:v>
                </c:pt>
                <c:pt idx="75">
                  <c:v>209</c:v>
                </c:pt>
                <c:pt idx="76">
                  <c:v>85</c:v>
                </c:pt>
                <c:pt idx="77">
                  <c:v>260</c:v>
                </c:pt>
                <c:pt idx="78">
                  <c:v>364</c:v>
                </c:pt>
                <c:pt idx="79">
                  <c:v>260</c:v>
                </c:pt>
                <c:pt idx="80">
                  <c:v>211</c:v>
                </c:pt>
                <c:pt idx="81">
                  <c:v>237</c:v>
                </c:pt>
                <c:pt idx="82">
                  <c:v>172</c:v>
                </c:pt>
                <c:pt idx="83">
                  <c:v>96</c:v>
                </c:pt>
                <c:pt idx="84">
                  <c:v>196</c:v>
                </c:pt>
                <c:pt idx="85">
                  <c:v>298</c:v>
                </c:pt>
                <c:pt idx="86">
                  <c:v>231</c:v>
                </c:pt>
                <c:pt idx="87">
                  <c:v>236</c:v>
                </c:pt>
                <c:pt idx="88">
                  <c:v>206</c:v>
                </c:pt>
                <c:pt idx="89">
                  <c:v>126</c:v>
                </c:pt>
                <c:pt idx="90">
                  <c:v>71</c:v>
                </c:pt>
                <c:pt idx="91">
                  <c:v>259</c:v>
                </c:pt>
                <c:pt idx="92">
                  <c:v>185</c:v>
                </c:pt>
                <c:pt idx="93">
                  <c:v>160</c:v>
                </c:pt>
                <c:pt idx="94">
                  <c:v>173</c:v>
                </c:pt>
                <c:pt idx="95">
                  <c:v>183</c:v>
                </c:pt>
                <c:pt idx="96">
                  <c:v>94</c:v>
                </c:pt>
                <c:pt idx="97">
                  <c:v>51</c:v>
                </c:pt>
                <c:pt idx="98">
                  <c:v>135</c:v>
                </c:pt>
                <c:pt idx="99">
                  <c:v>153</c:v>
                </c:pt>
                <c:pt idx="100">
                  <c:v>139</c:v>
                </c:pt>
                <c:pt idx="101">
                  <c:v>101</c:v>
                </c:pt>
                <c:pt idx="102">
                  <c:v>109</c:v>
                </c:pt>
                <c:pt idx="103">
                  <c:v>75</c:v>
                </c:pt>
                <c:pt idx="104">
                  <c:v>30</c:v>
                </c:pt>
                <c:pt idx="105">
                  <c:v>122</c:v>
                </c:pt>
                <c:pt idx="106">
                  <c:v>137</c:v>
                </c:pt>
                <c:pt idx="107">
                  <c:v>95</c:v>
                </c:pt>
                <c:pt idx="108">
                  <c:v>68</c:v>
                </c:pt>
                <c:pt idx="109">
                  <c:v>76</c:v>
                </c:pt>
                <c:pt idx="110">
                  <c:v>60</c:v>
                </c:pt>
                <c:pt idx="111">
                  <c:v>22</c:v>
                </c:pt>
                <c:pt idx="112">
                  <c:v>68</c:v>
                </c:pt>
                <c:pt idx="113">
                  <c:v>71</c:v>
                </c:pt>
                <c:pt idx="114">
                  <c:v>64</c:v>
                </c:pt>
                <c:pt idx="115">
                  <c:v>48</c:v>
                </c:pt>
                <c:pt idx="116">
                  <c:v>52</c:v>
                </c:pt>
                <c:pt idx="117">
                  <c:v>36</c:v>
                </c:pt>
                <c:pt idx="118">
                  <c:v>25</c:v>
                </c:pt>
                <c:pt idx="119">
                  <c:v>38</c:v>
                </c:pt>
                <c:pt idx="120">
                  <c:v>53</c:v>
                </c:pt>
                <c:pt idx="121">
                  <c:v>41</c:v>
                </c:pt>
                <c:pt idx="122">
                  <c:v>76</c:v>
                </c:pt>
                <c:pt idx="123">
                  <c:v>47</c:v>
                </c:pt>
                <c:pt idx="124">
                  <c:v>28</c:v>
                </c:pt>
                <c:pt idx="125">
                  <c:v>21</c:v>
                </c:pt>
                <c:pt idx="126">
                  <c:v>37</c:v>
                </c:pt>
                <c:pt idx="127">
                  <c:v>55</c:v>
                </c:pt>
                <c:pt idx="128">
                  <c:v>27</c:v>
                </c:pt>
                <c:pt idx="129">
                  <c:v>27</c:v>
                </c:pt>
                <c:pt idx="130">
                  <c:v>28</c:v>
                </c:pt>
                <c:pt idx="131">
                  <c:v>15</c:v>
                </c:pt>
                <c:pt idx="132">
                  <c:v>9</c:v>
                </c:pt>
                <c:pt idx="133">
                  <c:v>19</c:v>
                </c:pt>
                <c:pt idx="134">
                  <c:v>36</c:v>
                </c:pt>
                <c:pt idx="135">
                  <c:v>30</c:v>
                </c:pt>
                <c:pt idx="136">
                  <c:v>51</c:v>
                </c:pt>
                <c:pt idx="137">
                  <c:v>37</c:v>
                </c:pt>
                <c:pt idx="138">
                  <c:v>23</c:v>
                </c:pt>
                <c:pt idx="139">
                  <c:v>22</c:v>
                </c:pt>
                <c:pt idx="140">
                  <c:v>31</c:v>
                </c:pt>
                <c:pt idx="141">
                  <c:v>30</c:v>
                </c:pt>
                <c:pt idx="142">
                  <c:v>24</c:v>
                </c:pt>
                <c:pt idx="143">
                  <c:v>40</c:v>
                </c:pt>
                <c:pt idx="144">
                  <c:v>47</c:v>
                </c:pt>
                <c:pt idx="145">
                  <c:v>32</c:v>
                </c:pt>
                <c:pt idx="146">
                  <c:v>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C$155:$C$322</c:f>
              <c:numCache>
                <c:formatCode>General</c:formatCode>
                <c:ptCount val="16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14A-45E8-87A1-7BD2345ADB4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70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D$155:$D$322</c:f>
              <c:numCache>
                <c:formatCode>General</c:formatCode>
                <c:ptCount val="168"/>
                <c:pt idx="119">
                  <c:v>39</c:v>
                </c:pt>
                <c:pt idx="120">
                  <c:v>37</c:v>
                </c:pt>
                <c:pt idx="121">
                  <c:v>35</c:v>
                </c:pt>
                <c:pt idx="122">
                  <c:v>33</c:v>
                </c:pt>
                <c:pt idx="123">
                  <c:v>31</c:v>
                </c:pt>
                <c:pt idx="124">
                  <c:v>29</c:v>
                </c:pt>
                <c:pt idx="125">
                  <c:v>28</c:v>
                </c:pt>
                <c:pt idx="126">
                  <c:v>26</c:v>
                </c:pt>
                <c:pt idx="127">
                  <c:v>25</c:v>
                </c:pt>
                <c:pt idx="128">
                  <c:v>23</c:v>
                </c:pt>
                <c:pt idx="129">
                  <c:v>22</c:v>
                </c:pt>
                <c:pt idx="130">
                  <c:v>21</c:v>
                </c:pt>
                <c:pt idx="131">
                  <c:v>20</c:v>
                </c:pt>
                <c:pt idx="132">
                  <c:v>19</c:v>
                </c:pt>
                <c:pt idx="133">
                  <c:v>18</c:v>
                </c:pt>
                <c:pt idx="134">
                  <c:v>17</c:v>
                </c:pt>
                <c:pt idx="135">
                  <c:v>16</c:v>
                </c:pt>
                <c:pt idx="136">
                  <c:v>15</c:v>
                </c:pt>
                <c:pt idx="137">
                  <c:v>14</c:v>
                </c:pt>
                <c:pt idx="138">
                  <c:v>14</c:v>
                </c:pt>
                <c:pt idx="139">
                  <c:v>13</c:v>
                </c:pt>
                <c:pt idx="140">
                  <c:v>13</c:v>
                </c:pt>
                <c:pt idx="141">
                  <c:v>12</c:v>
                </c:pt>
                <c:pt idx="142">
                  <c:v>11</c:v>
                </c:pt>
                <c:pt idx="143">
                  <c:v>11</c:v>
                </c:pt>
                <c:pt idx="144">
                  <c:v>10</c:v>
                </c:pt>
                <c:pt idx="145">
                  <c:v>10</c:v>
                </c:pt>
                <c:pt idx="146">
                  <c:v>10</c:v>
                </c:pt>
                <c:pt idx="147">
                  <c:v>9</c:v>
                </c:pt>
                <c:pt idx="148">
                  <c:v>9</c:v>
                </c:pt>
                <c:pt idx="149">
                  <c:v>8</c:v>
                </c:pt>
                <c:pt idx="150">
                  <c:v>8</c:v>
                </c:pt>
                <c:pt idx="151">
                  <c:v>8</c:v>
                </c:pt>
                <c:pt idx="152">
                  <c:v>8</c:v>
                </c:pt>
                <c:pt idx="153">
                  <c:v>7</c:v>
                </c:pt>
                <c:pt idx="154">
                  <c:v>7</c:v>
                </c:pt>
                <c:pt idx="155">
                  <c:v>7</c:v>
                </c:pt>
                <c:pt idx="156">
                  <c:v>7</c:v>
                </c:pt>
                <c:pt idx="157">
                  <c:v>6</c:v>
                </c:pt>
                <c:pt idx="158">
                  <c:v>6</c:v>
                </c:pt>
                <c:pt idx="159">
                  <c:v>6</c:v>
                </c:pt>
                <c:pt idx="160">
                  <c:v>6</c:v>
                </c:pt>
                <c:pt idx="161">
                  <c:v>6</c:v>
                </c:pt>
                <c:pt idx="162">
                  <c:v>6</c:v>
                </c:pt>
                <c:pt idx="163">
                  <c:v>6</c:v>
                </c:pt>
                <c:pt idx="164">
                  <c:v>5</c:v>
                </c:pt>
                <c:pt idx="165">
                  <c:v>5</c:v>
                </c:pt>
                <c:pt idx="166">
                  <c:v>5</c:v>
                </c:pt>
                <c:pt idx="167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14A-45E8-87A1-7BD2345ADB46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0,90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F$155:$F$322</c:f>
              <c:numCache>
                <c:formatCode>General</c:formatCode>
                <c:ptCount val="168"/>
                <c:pt idx="119">
                  <c:v>39</c:v>
                </c:pt>
                <c:pt idx="120">
                  <c:v>41</c:v>
                </c:pt>
                <c:pt idx="121">
                  <c:v>41</c:v>
                </c:pt>
                <c:pt idx="122">
                  <c:v>40</c:v>
                </c:pt>
                <c:pt idx="123">
                  <c:v>38</c:v>
                </c:pt>
                <c:pt idx="124">
                  <c:v>37</c:v>
                </c:pt>
                <c:pt idx="125">
                  <c:v>37</c:v>
                </c:pt>
                <c:pt idx="126">
                  <c:v>37</c:v>
                </c:pt>
                <c:pt idx="127">
                  <c:v>37</c:v>
                </c:pt>
                <c:pt idx="128">
                  <c:v>36</c:v>
                </c:pt>
                <c:pt idx="129">
                  <c:v>35</c:v>
                </c:pt>
                <c:pt idx="130">
                  <c:v>34</c:v>
                </c:pt>
                <c:pt idx="131">
                  <c:v>34</c:v>
                </c:pt>
                <c:pt idx="132">
                  <c:v>34</c:v>
                </c:pt>
                <c:pt idx="133">
                  <c:v>34</c:v>
                </c:pt>
                <c:pt idx="134">
                  <c:v>33</c:v>
                </c:pt>
                <c:pt idx="135">
                  <c:v>33</c:v>
                </c:pt>
                <c:pt idx="136">
                  <c:v>32</c:v>
                </c:pt>
                <c:pt idx="137">
                  <c:v>32</c:v>
                </c:pt>
                <c:pt idx="138">
                  <c:v>31</c:v>
                </c:pt>
                <c:pt idx="139">
                  <c:v>31</c:v>
                </c:pt>
                <c:pt idx="140">
                  <c:v>31</c:v>
                </c:pt>
                <c:pt idx="141">
                  <c:v>30</c:v>
                </c:pt>
                <c:pt idx="142">
                  <c:v>30</c:v>
                </c:pt>
                <c:pt idx="143">
                  <c:v>29</c:v>
                </c:pt>
                <c:pt idx="144">
                  <c:v>29</c:v>
                </c:pt>
                <c:pt idx="145">
                  <c:v>29</c:v>
                </c:pt>
                <c:pt idx="146">
                  <c:v>28</c:v>
                </c:pt>
                <c:pt idx="147">
                  <c:v>28</c:v>
                </c:pt>
                <c:pt idx="148">
                  <c:v>28</c:v>
                </c:pt>
                <c:pt idx="149">
                  <c:v>27</c:v>
                </c:pt>
                <c:pt idx="150">
                  <c:v>27</c:v>
                </c:pt>
                <c:pt idx="151">
                  <c:v>27</c:v>
                </c:pt>
                <c:pt idx="152">
                  <c:v>26</c:v>
                </c:pt>
                <c:pt idx="153">
                  <c:v>26</c:v>
                </c:pt>
                <c:pt idx="154">
                  <c:v>26</c:v>
                </c:pt>
                <c:pt idx="155">
                  <c:v>25</c:v>
                </c:pt>
                <c:pt idx="156">
                  <c:v>25</c:v>
                </c:pt>
                <c:pt idx="157">
                  <c:v>25</c:v>
                </c:pt>
                <c:pt idx="158">
                  <c:v>24</c:v>
                </c:pt>
                <c:pt idx="159">
                  <c:v>24</c:v>
                </c:pt>
                <c:pt idx="160">
                  <c:v>24</c:v>
                </c:pt>
                <c:pt idx="161">
                  <c:v>24</c:v>
                </c:pt>
                <c:pt idx="162">
                  <c:v>23</c:v>
                </c:pt>
                <c:pt idx="163">
                  <c:v>23</c:v>
                </c:pt>
                <c:pt idx="164">
                  <c:v>23</c:v>
                </c:pt>
                <c:pt idx="165">
                  <c:v>23</c:v>
                </c:pt>
                <c:pt idx="166">
                  <c:v>22</c:v>
                </c:pt>
                <c:pt idx="167">
                  <c:v>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14A-45E8-87A1-7BD2345ADB46}"/>
            </c:ext>
          </c:extLst>
        </c:ser>
        <c:ser>
          <c:idx val="5"/>
          <c:order val="4"/>
          <c:tx>
            <c:strRef>
              <c:f>Sheet1!$G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G$155:$G$322</c:f>
              <c:numCache>
                <c:formatCode>General</c:formatCode>
                <c:ptCount val="168"/>
                <c:pt idx="119">
                  <c:v>39</c:v>
                </c:pt>
                <c:pt idx="120">
                  <c:v>45</c:v>
                </c:pt>
                <c:pt idx="121">
                  <c:v>47</c:v>
                </c:pt>
                <c:pt idx="122">
                  <c:v>47</c:v>
                </c:pt>
                <c:pt idx="123">
                  <c:v>46</c:v>
                </c:pt>
                <c:pt idx="124">
                  <c:v>46</c:v>
                </c:pt>
                <c:pt idx="125">
                  <c:v>47</c:v>
                </c:pt>
                <c:pt idx="126">
                  <c:v>49</c:v>
                </c:pt>
                <c:pt idx="127">
                  <c:v>51</c:v>
                </c:pt>
                <c:pt idx="128">
                  <c:v>52</c:v>
                </c:pt>
                <c:pt idx="129">
                  <c:v>52</c:v>
                </c:pt>
                <c:pt idx="130">
                  <c:v>53</c:v>
                </c:pt>
                <c:pt idx="131">
                  <c:v>54</c:v>
                </c:pt>
                <c:pt idx="132">
                  <c:v>56</c:v>
                </c:pt>
                <c:pt idx="133">
                  <c:v>57</c:v>
                </c:pt>
                <c:pt idx="134">
                  <c:v>58</c:v>
                </c:pt>
                <c:pt idx="135">
                  <c:v>59</c:v>
                </c:pt>
                <c:pt idx="136">
                  <c:v>60</c:v>
                </c:pt>
                <c:pt idx="137">
                  <c:v>61</c:v>
                </c:pt>
                <c:pt idx="138">
                  <c:v>63</c:v>
                </c:pt>
                <c:pt idx="139">
                  <c:v>64</c:v>
                </c:pt>
                <c:pt idx="140">
                  <c:v>65</c:v>
                </c:pt>
                <c:pt idx="141">
                  <c:v>66</c:v>
                </c:pt>
                <c:pt idx="142">
                  <c:v>68</c:v>
                </c:pt>
                <c:pt idx="143">
                  <c:v>69</c:v>
                </c:pt>
                <c:pt idx="144">
                  <c:v>71</c:v>
                </c:pt>
                <c:pt idx="145">
                  <c:v>72</c:v>
                </c:pt>
                <c:pt idx="146">
                  <c:v>74</c:v>
                </c:pt>
                <c:pt idx="147">
                  <c:v>75</c:v>
                </c:pt>
                <c:pt idx="148">
                  <c:v>76</c:v>
                </c:pt>
                <c:pt idx="149">
                  <c:v>78</c:v>
                </c:pt>
                <c:pt idx="150">
                  <c:v>80</c:v>
                </c:pt>
                <c:pt idx="151">
                  <c:v>81</c:v>
                </c:pt>
                <c:pt idx="152">
                  <c:v>83</c:v>
                </c:pt>
                <c:pt idx="153">
                  <c:v>84</c:v>
                </c:pt>
                <c:pt idx="154">
                  <c:v>86</c:v>
                </c:pt>
                <c:pt idx="155">
                  <c:v>88</c:v>
                </c:pt>
                <c:pt idx="156">
                  <c:v>89</c:v>
                </c:pt>
                <c:pt idx="157">
                  <c:v>91</c:v>
                </c:pt>
                <c:pt idx="158">
                  <c:v>93</c:v>
                </c:pt>
                <c:pt idx="159">
                  <c:v>95</c:v>
                </c:pt>
                <c:pt idx="160">
                  <c:v>97</c:v>
                </c:pt>
                <c:pt idx="161">
                  <c:v>98</c:v>
                </c:pt>
                <c:pt idx="162">
                  <c:v>100</c:v>
                </c:pt>
                <c:pt idx="163">
                  <c:v>102</c:v>
                </c:pt>
                <c:pt idx="164">
                  <c:v>104</c:v>
                </c:pt>
                <c:pt idx="165">
                  <c:v>106</c:v>
                </c:pt>
                <c:pt idx="166">
                  <c:v>108</c:v>
                </c:pt>
                <c:pt idx="167">
                  <c:v>11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31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3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5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H$2:$H$169</c:f>
              <c:numCache>
                <c:formatCode>0</c:formatCode>
                <c:ptCount val="168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  <c:pt idx="126">
                  <c:v>100</c:v>
                </c:pt>
                <c:pt idx="127">
                  <c:v>100</c:v>
                </c:pt>
                <c:pt idx="128">
                  <c:v>100</c:v>
                </c:pt>
                <c:pt idx="129">
                  <c:v>100</c:v>
                </c:pt>
                <c:pt idx="130">
                  <c:v>100</c:v>
                </c:pt>
                <c:pt idx="131">
                  <c:v>100</c:v>
                </c:pt>
                <c:pt idx="132">
                  <c:v>100</c:v>
                </c:pt>
                <c:pt idx="133">
                  <c:v>100</c:v>
                </c:pt>
                <c:pt idx="134">
                  <c:v>100</c:v>
                </c:pt>
                <c:pt idx="135">
                  <c:v>100</c:v>
                </c:pt>
                <c:pt idx="136">
                  <c:v>100</c:v>
                </c:pt>
                <c:pt idx="137">
                  <c:v>100</c:v>
                </c:pt>
                <c:pt idx="138">
                  <c:v>100</c:v>
                </c:pt>
                <c:pt idx="139">
                  <c:v>100</c:v>
                </c:pt>
                <c:pt idx="140">
                  <c:v>100</c:v>
                </c:pt>
                <c:pt idx="141">
                  <c:v>100</c:v>
                </c:pt>
                <c:pt idx="142">
                  <c:v>100</c:v>
                </c:pt>
                <c:pt idx="143">
                  <c:v>100</c:v>
                </c:pt>
                <c:pt idx="144">
                  <c:v>100</c:v>
                </c:pt>
                <c:pt idx="145">
                  <c:v>100</c:v>
                </c:pt>
                <c:pt idx="146">
                  <c:v>100</c:v>
                </c:pt>
                <c:pt idx="147">
                  <c:v>100</c:v>
                </c:pt>
                <c:pt idx="148">
                  <c:v>100</c:v>
                </c:pt>
                <c:pt idx="149">
                  <c:v>100</c:v>
                </c:pt>
                <c:pt idx="150">
                  <c:v>100</c:v>
                </c:pt>
                <c:pt idx="151">
                  <c:v>100</c:v>
                </c:pt>
                <c:pt idx="152">
                  <c:v>100</c:v>
                </c:pt>
                <c:pt idx="153">
                  <c:v>100</c:v>
                </c:pt>
                <c:pt idx="154">
                  <c:v>100</c:v>
                </c:pt>
                <c:pt idx="155">
                  <c:v>100</c:v>
                </c:pt>
                <c:pt idx="156">
                  <c:v>100</c:v>
                </c:pt>
                <c:pt idx="157">
                  <c:v>100</c:v>
                </c:pt>
                <c:pt idx="158">
                  <c:v>100</c:v>
                </c:pt>
                <c:pt idx="159">
                  <c:v>100</c:v>
                </c:pt>
                <c:pt idx="160">
                  <c:v>100</c:v>
                </c:pt>
                <c:pt idx="161">
                  <c:v>100</c:v>
                </c:pt>
                <c:pt idx="162">
                  <c:v>100</c:v>
                </c:pt>
                <c:pt idx="163">
                  <c:v>100</c:v>
                </c:pt>
                <c:pt idx="164">
                  <c:v>100</c:v>
                </c:pt>
                <c:pt idx="165">
                  <c:v>100</c:v>
                </c:pt>
                <c:pt idx="166">
                  <c:v>100</c:v>
                </c:pt>
                <c:pt idx="167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EF5-483F-B422-4E0629062509}"/>
            </c:ext>
          </c:extLst>
        </c:ser>
        <c:ser>
          <c:idx val="7"/>
          <c:order val="6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rgbClr val="C2FFDF"/>
            </a:solidFill>
            <a:ln>
              <a:noFill/>
            </a:ln>
            <a:effectLst/>
          </c:spP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I$2:$I$169</c:f>
              <c:numCache>
                <c:formatCode>0</c:formatCode>
                <c:ptCount val="168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  <c:pt idx="79">
                  <c:v>50</c:v>
                </c:pt>
                <c:pt idx="80">
                  <c:v>50</c:v>
                </c:pt>
                <c:pt idx="81">
                  <c:v>50</c:v>
                </c:pt>
                <c:pt idx="82">
                  <c:v>50</c:v>
                </c:pt>
                <c:pt idx="83">
                  <c:v>50</c:v>
                </c:pt>
                <c:pt idx="84">
                  <c:v>50</c:v>
                </c:pt>
                <c:pt idx="85">
                  <c:v>50</c:v>
                </c:pt>
                <c:pt idx="86">
                  <c:v>50</c:v>
                </c:pt>
                <c:pt idx="87">
                  <c:v>50</c:v>
                </c:pt>
                <c:pt idx="88">
                  <c:v>50</c:v>
                </c:pt>
                <c:pt idx="89">
                  <c:v>50</c:v>
                </c:pt>
                <c:pt idx="90">
                  <c:v>50</c:v>
                </c:pt>
                <c:pt idx="91">
                  <c:v>50</c:v>
                </c:pt>
                <c:pt idx="92">
                  <c:v>50</c:v>
                </c:pt>
                <c:pt idx="93">
                  <c:v>50</c:v>
                </c:pt>
                <c:pt idx="94">
                  <c:v>50</c:v>
                </c:pt>
                <c:pt idx="95">
                  <c:v>50</c:v>
                </c:pt>
                <c:pt idx="96">
                  <c:v>50</c:v>
                </c:pt>
                <c:pt idx="97">
                  <c:v>50</c:v>
                </c:pt>
                <c:pt idx="98">
                  <c:v>50</c:v>
                </c:pt>
                <c:pt idx="99">
                  <c:v>50</c:v>
                </c:pt>
                <c:pt idx="100">
                  <c:v>50</c:v>
                </c:pt>
                <c:pt idx="101">
                  <c:v>50</c:v>
                </c:pt>
                <c:pt idx="102">
                  <c:v>50</c:v>
                </c:pt>
                <c:pt idx="103">
                  <c:v>50</c:v>
                </c:pt>
                <c:pt idx="104">
                  <c:v>50</c:v>
                </c:pt>
                <c:pt idx="105">
                  <c:v>50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  <c:pt idx="110">
                  <c:v>50</c:v>
                </c:pt>
                <c:pt idx="111">
                  <c:v>50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0</c:v>
                </c:pt>
                <c:pt idx="122">
                  <c:v>50</c:v>
                </c:pt>
                <c:pt idx="123">
                  <c:v>50</c:v>
                </c:pt>
                <c:pt idx="124">
                  <c:v>50</c:v>
                </c:pt>
                <c:pt idx="125">
                  <c:v>50</c:v>
                </c:pt>
                <c:pt idx="126">
                  <c:v>50</c:v>
                </c:pt>
                <c:pt idx="127">
                  <c:v>50</c:v>
                </c:pt>
                <c:pt idx="128">
                  <c:v>50</c:v>
                </c:pt>
                <c:pt idx="129">
                  <c:v>50</c:v>
                </c:pt>
                <c:pt idx="130">
                  <c:v>50</c:v>
                </c:pt>
                <c:pt idx="131">
                  <c:v>50</c:v>
                </c:pt>
                <c:pt idx="132">
                  <c:v>50</c:v>
                </c:pt>
                <c:pt idx="133">
                  <c:v>50</c:v>
                </c:pt>
                <c:pt idx="134">
                  <c:v>50</c:v>
                </c:pt>
                <c:pt idx="135">
                  <c:v>50</c:v>
                </c:pt>
                <c:pt idx="136">
                  <c:v>50</c:v>
                </c:pt>
                <c:pt idx="137">
                  <c:v>50</c:v>
                </c:pt>
                <c:pt idx="138">
                  <c:v>50</c:v>
                </c:pt>
                <c:pt idx="139">
                  <c:v>50</c:v>
                </c:pt>
                <c:pt idx="140">
                  <c:v>50</c:v>
                </c:pt>
                <c:pt idx="141">
                  <c:v>50</c:v>
                </c:pt>
                <c:pt idx="142">
                  <c:v>50</c:v>
                </c:pt>
                <c:pt idx="143">
                  <c:v>50</c:v>
                </c:pt>
                <c:pt idx="144">
                  <c:v>50</c:v>
                </c:pt>
                <c:pt idx="145">
                  <c:v>50</c:v>
                </c:pt>
                <c:pt idx="146">
                  <c:v>50</c:v>
                </c:pt>
                <c:pt idx="147">
                  <c:v>50</c:v>
                </c:pt>
                <c:pt idx="148">
                  <c:v>50</c:v>
                </c:pt>
                <c:pt idx="149">
                  <c:v>50</c:v>
                </c:pt>
                <c:pt idx="150">
                  <c:v>50</c:v>
                </c:pt>
                <c:pt idx="151">
                  <c:v>50</c:v>
                </c:pt>
                <c:pt idx="152">
                  <c:v>50</c:v>
                </c:pt>
                <c:pt idx="153">
                  <c:v>50</c:v>
                </c:pt>
                <c:pt idx="154">
                  <c:v>50</c:v>
                </c:pt>
                <c:pt idx="155">
                  <c:v>50</c:v>
                </c:pt>
                <c:pt idx="156">
                  <c:v>50</c:v>
                </c:pt>
                <c:pt idx="157">
                  <c:v>50</c:v>
                </c:pt>
                <c:pt idx="158">
                  <c:v>50</c:v>
                </c:pt>
                <c:pt idx="159">
                  <c:v>50</c:v>
                </c:pt>
                <c:pt idx="160">
                  <c:v>50</c:v>
                </c:pt>
                <c:pt idx="161">
                  <c:v>50</c:v>
                </c:pt>
                <c:pt idx="162">
                  <c:v>50</c:v>
                </c:pt>
                <c:pt idx="163">
                  <c:v>50</c:v>
                </c:pt>
                <c:pt idx="164">
                  <c:v>50</c:v>
                </c:pt>
                <c:pt idx="165">
                  <c:v>50</c:v>
                </c:pt>
                <c:pt idx="166">
                  <c:v>50</c:v>
                </c:pt>
                <c:pt idx="167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EF5-483F-B422-4E06290625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B$2:$B$169</c:f>
              <c:numCache>
                <c:formatCode>0</c:formatCode>
                <c:ptCount val="168"/>
                <c:pt idx="0">
                  <c:v>344.22224718611307</c:v>
                </c:pt>
                <c:pt idx="1">
                  <c:v>325.10810389375217</c:v>
                </c:pt>
                <c:pt idx="2">
                  <c:v>316.80854167470079</c:v>
                </c:pt>
                <c:pt idx="3">
                  <c:v>306.74846625766872</c:v>
                </c:pt>
                <c:pt idx="4">
                  <c:v>313.45518320235675</c:v>
                </c:pt>
                <c:pt idx="5">
                  <c:v>302.80827005266451</c:v>
                </c:pt>
                <c:pt idx="6">
                  <c:v>300.54475308383229</c:v>
                </c:pt>
                <c:pt idx="7">
                  <c:v>291.40685124669483</c:v>
                </c:pt>
                <c:pt idx="8">
                  <c:v>296.52072291701944</c:v>
                </c:pt>
                <c:pt idx="9">
                  <c:v>302.80827005266451</c:v>
                </c:pt>
                <c:pt idx="10">
                  <c:v>310.01799076820413</c:v>
                </c:pt>
                <c:pt idx="11">
                  <c:v>296.01771914616785</c:v>
                </c:pt>
                <c:pt idx="12">
                  <c:v>301.88609647276985</c:v>
                </c:pt>
                <c:pt idx="13">
                  <c:v>301.13159081649246</c:v>
                </c:pt>
                <c:pt idx="14">
                  <c:v>313.70668508778255</c:v>
                </c:pt>
                <c:pt idx="15">
                  <c:v>327.70695670981877</c:v>
                </c:pt>
                <c:pt idx="16">
                  <c:v>342.79706983536687</c:v>
                </c:pt>
                <c:pt idx="17">
                  <c:v>349.67145470367205</c:v>
                </c:pt>
                <c:pt idx="18">
                  <c:v>366.85741687443516</c:v>
                </c:pt>
                <c:pt idx="19">
                  <c:v>378.00733379497905</c:v>
                </c:pt>
                <c:pt idx="20">
                  <c:v>381.10919038189724</c:v>
                </c:pt>
                <c:pt idx="21">
                  <c:v>389.32491863914009</c:v>
                </c:pt>
                <c:pt idx="22">
                  <c:v>416.90629207416958</c:v>
                </c:pt>
                <c:pt idx="23">
                  <c:v>430.73889577258859</c:v>
                </c:pt>
                <c:pt idx="24">
                  <c:v>459.2424427875128</c:v>
                </c:pt>
                <c:pt idx="25">
                  <c:v>472.82354460050601</c:v>
                </c:pt>
                <c:pt idx="26">
                  <c:v>477.51824646178767</c:v>
                </c:pt>
                <c:pt idx="27">
                  <c:v>484.64413321551871</c:v>
                </c:pt>
                <c:pt idx="28">
                  <c:v>507.69847271288376</c:v>
                </c:pt>
                <c:pt idx="29">
                  <c:v>507.2793029038408</c:v>
                </c:pt>
                <c:pt idx="30">
                  <c:v>507.2793029038408</c:v>
                </c:pt>
                <c:pt idx="31">
                  <c:v>506.44096328575472</c:v>
                </c:pt>
                <c:pt idx="32">
                  <c:v>495.62638221244532</c:v>
                </c:pt>
                <c:pt idx="33">
                  <c:v>505.60262366766875</c:v>
                </c:pt>
                <c:pt idx="34">
                  <c:v>502.58460104255914</c:v>
                </c:pt>
                <c:pt idx="35">
                  <c:v>496.63238975414856</c:v>
                </c:pt>
                <c:pt idx="36">
                  <c:v>491.77001996924974</c:v>
                </c:pt>
                <c:pt idx="37">
                  <c:v>481.12310681955739</c:v>
                </c:pt>
                <c:pt idx="38">
                  <c:v>475.75773326380704</c:v>
                </c:pt>
                <c:pt idx="39">
                  <c:v>491.68618600744105</c:v>
                </c:pt>
                <c:pt idx="40">
                  <c:v>474.33255591306084</c:v>
                </c:pt>
                <c:pt idx="41">
                  <c:v>466.78749935028685</c:v>
                </c:pt>
                <c:pt idx="42">
                  <c:v>505.43495574405154</c:v>
                </c:pt>
                <c:pt idx="43">
                  <c:v>497.21922748680868</c:v>
                </c:pt>
                <c:pt idx="44">
                  <c:v>513.23151419225132</c:v>
                </c:pt>
                <c:pt idx="45">
                  <c:v>516.92020851182986</c:v>
                </c:pt>
                <c:pt idx="46">
                  <c:v>495.96171805967975</c:v>
                </c:pt>
                <c:pt idx="47">
                  <c:v>494.70420863255072</c:v>
                </c:pt>
                <c:pt idx="48">
                  <c:v>499.65041237925817</c:v>
                </c:pt>
                <c:pt idx="49">
                  <c:v>454.7154088498483</c:v>
                </c:pt>
                <c:pt idx="50">
                  <c:v>451.11054849207852</c:v>
                </c:pt>
                <c:pt idx="51">
                  <c:v>435.9366014047219</c:v>
                </c:pt>
                <c:pt idx="52">
                  <c:v>415.48111472342339</c:v>
                </c:pt>
                <c:pt idx="53">
                  <c:v>415.64878264704055</c:v>
                </c:pt>
                <c:pt idx="54">
                  <c:v>417.49312980682981</c:v>
                </c:pt>
                <c:pt idx="55">
                  <c:v>412.63076002193094</c:v>
                </c:pt>
                <c:pt idx="56">
                  <c:v>401.9838468722387</c:v>
                </c:pt>
                <c:pt idx="57">
                  <c:v>390.58242806626907</c:v>
                </c:pt>
                <c:pt idx="58">
                  <c:v>385.04938658690145</c:v>
                </c:pt>
                <c:pt idx="59">
                  <c:v>385.63622431956162</c:v>
                </c:pt>
                <c:pt idx="60">
                  <c:v>343.71924341526147</c:v>
                </c:pt>
                <c:pt idx="61">
                  <c:v>326.95245105354138</c:v>
                </c:pt>
                <c:pt idx="62">
                  <c:v>336.50952269972186</c:v>
                </c:pt>
                <c:pt idx="63">
                  <c:v>284.53246637838959</c:v>
                </c:pt>
                <c:pt idx="64">
                  <c:v>274.47239096135758</c:v>
                </c:pt>
                <c:pt idx="65">
                  <c:v>269.61002117645876</c:v>
                </c:pt>
                <c:pt idx="66">
                  <c:v>261.98113065187607</c:v>
                </c:pt>
                <c:pt idx="67">
                  <c:v>285.53847392009283</c:v>
                </c:pt>
                <c:pt idx="68">
                  <c:v>288.05349277435084</c:v>
                </c:pt>
                <c:pt idx="69">
                  <c:v>273.29871549603718</c:v>
                </c:pt>
                <c:pt idx="70">
                  <c:v>312.53300962246215</c:v>
                </c:pt>
                <c:pt idx="71">
                  <c:v>299.03574177127751</c:v>
                </c:pt>
                <c:pt idx="72">
                  <c:v>283.02345506583481</c:v>
                </c:pt>
                <c:pt idx="73">
                  <c:v>260.89128914836431</c:v>
                </c:pt>
                <c:pt idx="74">
                  <c:v>250.57971184590647</c:v>
                </c:pt>
                <c:pt idx="75">
                  <c:v>242.28014962685501</c:v>
                </c:pt>
                <c:pt idx="76">
                  <c:v>245.13050432834746</c:v>
                </c:pt>
                <c:pt idx="77">
                  <c:v>231.96857232439717</c:v>
                </c:pt>
                <c:pt idx="78">
                  <c:v>224.67501764704897</c:v>
                </c:pt>
                <c:pt idx="79">
                  <c:v>209.16573471245789</c:v>
                </c:pt>
                <c:pt idx="80">
                  <c:v>202.79435361500427</c:v>
                </c:pt>
                <c:pt idx="81">
                  <c:v>194.07562158690982</c:v>
                </c:pt>
                <c:pt idx="82">
                  <c:v>197.59664798287108</c:v>
                </c:pt>
                <c:pt idx="83">
                  <c:v>193.48878385424962</c:v>
                </c:pt>
                <c:pt idx="84">
                  <c:v>182.75803674274877</c:v>
                </c:pt>
                <c:pt idx="85">
                  <c:v>180.91368958295956</c:v>
                </c:pt>
                <c:pt idx="86">
                  <c:v>181.08135750657678</c:v>
                </c:pt>
                <c:pt idx="87">
                  <c:v>172.02728963124795</c:v>
                </c:pt>
                <c:pt idx="88">
                  <c:v>170.85361416592752</c:v>
                </c:pt>
                <c:pt idx="89">
                  <c:v>163.5600594885793</c:v>
                </c:pt>
                <c:pt idx="90">
                  <c:v>161.71571232879009</c:v>
                </c:pt>
                <c:pt idx="91">
                  <c:v>162.1348821378331</c:v>
                </c:pt>
                <c:pt idx="92">
                  <c:v>151.15263314090646</c:v>
                </c:pt>
                <c:pt idx="93">
                  <c:v>143.18840676908943</c:v>
                </c:pt>
                <c:pt idx="94">
                  <c:v>141.67939545653459</c:v>
                </c:pt>
                <c:pt idx="95">
                  <c:v>135.81101812993259</c:v>
                </c:pt>
                <c:pt idx="96">
                  <c:v>133.37983323748315</c:v>
                </c:pt>
                <c:pt idx="97">
                  <c:v>132.37382569577997</c:v>
                </c:pt>
                <c:pt idx="98">
                  <c:v>130.19414268875636</c:v>
                </c:pt>
                <c:pt idx="99">
                  <c:v>122.06224839332212</c:v>
                </c:pt>
                <c:pt idx="100">
                  <c:v>112.67284467075889</c:v>
                </c:pt>
                <c:pt idx="101">
                  <c:v>115.60703333405989</c:v>
                </c:pt>
                <c:pt idx="102">
                  <c:v>110.57699562554387</c:v>
                </c:pt>
                <c:pt idx="103">
                  <c:v>107.64280696224286</c:v>
                </c:pt>
                <c:pt idx="104">
                  <c:v>106.72063338234825</c:v>
                </c:pt>
                <c:pt idx="105">
                  <c:v>95.151546652761411</c:v>
                </c:pt>
                <c:pt idx="106">
                  <c:v>91.043682524139982</c:v>
                </c:pt>
                <c:pt idx="107">
                  <c:v>86.516648586475569</c:v>
                </c:pt>
                <c:pt idx="108">
                  <c:v>75.702067513166128</c:v>
                </c:pt>
                <c:pt idx="109">
                  <c:v>67.821675103157688</c:v>
                </c:pt>
                <c:pt idx="110">
                  <c:v>65.809660019751277</c:v>
                </c:pt>
                <c:pt idx="111">
                  <c:v>64.300648707196473</c:v>
                </c:pt>
                <c:pt idx="112">
                  <c:v>61.198792120278263</c:v>
                </c:pt>
                <c:pt idx="113">
                  <c:v>52.060890283140829</c:v>
                </c:pt>
                <c:pt idx="114">
                  <c:v>49.713539352500014</c:v>
                </c:pt>
                <c:pt idx="115">
                  <c:v>46.947018612816201</c:v>
                </c:pt>
                <c:pt idx="116">
                  <c:v>44.515833720366793</c:v>
                </c:pt>
                <c:pt idx="117">
                  <c:v>40.407969591745371</c:v>
                </c:pt>
                <c:pt idx="118">
                  <c:v>39.988799782702372</c:v>
                </c:pt>
                <c:pt idx="119">
                  <c:v>35.377931883229351</c:v>
                </c:pt>
                <c:pt idx="120">
                  <c:v>34.036588494291749</c:v>
                </c:pt>
                <c:pt idx="121">
                  <c:v>31.270067754607933</c:v>
                </c:pt>
                <c:pt idx="122">
                  <c:v>29.006550785775726</c:v>
                </c:pt>
                <c:pt idx="123">
                  <c:v>28.252045129498324</c:v>
                </c:pt>
                <c:pt idx="124">
                  <c:v>27.832875320455319</c:v>
                </c:pt>
                <c:pt idx="125">
                  <c:v>26.910701740560715</c:v>
                </c:pt>
                <c:pt idx="126">
                  <c:v>24.982520618962909</c:v>
                </c:pt>
                <c:pt idx="127">
                  <c:v>21.377660261193093</c:v>
                </c:pt>
                <c:pt idx="128">
                  <c:v>20.371652719489887</c:v>
                </c:pt>
                <c:pt idx="129">
                  <c:v>17.353630094380275</c:v>
                </c:pt>
                <c:pt idx="130">
                  <c:v>15.173947087356664</c:v>
                </c:pt>
                <c:pt idx="131">
                  <c:v>15.090113125548065</c:v>
                </c:pt>
                <c:pt idx="132">
                  <c:v>14.838611240122264</c:v>
                </c:pt>
                <c:pt idx="133">
                  <c:v>12.239758424055651</c:v>
                </c:pt>
                <c:pt idx="134">
                  <c:v>11.233750882352448</c:v>
                </c:pt>
                <c:pt idx="135">
                  <c:v>9.3894037225632392</c:v>
                </c:pt>
                <c:pt idx="136">
                  <c:v>9.8924074934148418</c:v>
                </c:pt>
                <c:pt idx="137">
                  <c:v>9.7247395697976415</c:v>
                </c:pt>
                <c:pt idx="138">
                  <c:v>8.718732028094438</c:v>
                </c:pt>
                <c:pt idx="139">
                  <c:v>8.634898066285837</c:v>
                </c:pt>
                <c:pt idx="140">
                  <c:v>8.634898066285837</c:v>
                </c:pt>
                <c:pt idx="141">
                  <c:v>7.9642263718170341</c:v>
                </c:pt>
                <c:pt idx="142">
                  <c:v>8.1318942954342344</c:v>
                </c:pt>
                <c:pt idx="143">
                  <c:v>6.5390490210708281</c:v>
                </c:pt>
                <c:pt idx="144">
                  <c:v>6.5390490210708281</c:v>
                </c:pt>
                <c:pt idx="145">
                  <c:v>6.6228829828794282</c:v>
                </c:pt>
                <c:pt idx="146">
                  <c:v>6.53904902107082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C$2:$C$169</c:f>
              <c:numCache>
                <c:formatCode>General</c:formatCode>
                <c:ptCount val="16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14A-45E8-87A1-7BD2345ADB4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75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D$2:$D$169</c:f>
              <c:numCache>
                <c:formatCode>General</c:formatCode>
                <c:ptCount val="168"/>
                <c:pt idx="119">
                  <c:v>36.048603577698159</c:v>
                </c:pt>
                <c:pt idx="120">
                  <c:v>33.785086608865946</c:v>
                </c:pt>
                <c:pt idx="121">
                  <c:v>31.689237563650934</c:v>
                </c:pt>
                <c:pt idx="122">
                  <c:v>29.761056442053128</c:v>
                </c:pt>
                <c:pt idx="123">
                  <c:v>27.91670928226392</c:v>
                </c:pt>
                <c:pt idx="124">
                  <c:v>26.240030046091913</c:v>
                </c:pt>
                <c:pt idx="125">
                  <c:v>24.731018733537105</c:v>
                </c:pt>
                <c:pt idx="126">
                  <c:v>23.305841382790899</c:v>
                </c:pt>
                <c:pt idx="127">
                  <c:v>22.048331955661897</c:v>
                </c:pt>
                <c:pt idx="128">
                  <c:v>20.790822528532889</c:v>
                </c:pt>
                <c:pt idx="129">
                  <c:v>19.617147063212482</c:v>
                </c:pt>
                <c:pt idx="130">
                  <c:v>18.61113952150928</c:v>
                </c:pt>
                <c:pt idx="131">
                  <c:v>17.605131979806075</c:v>
                </c:pt>
                <c:pt idx="132">
                  <c:v>16.68295839991147</c:v>
                </c:pt>
                <c:pt idx="133">
                  <c:v>15.844618781825467</c:v>
                </c:pt>
                <c:pt idx="134">
                  <c:v>15.006279163739466</c:v>
                </c:pt>
                <c:pt idx="135">
                  <c:v>14.25177350746206</c:v>
                </c:pt>
                <c:pt idx="136">
                  <c:v>13.497267851184658</c:v>
                </c:pt>
                <c:pt idx="137">
                  <c:v>12.742762194907254</c:v>
                </c:pt>
                <c:pt idx="138">
                  <c:v>12.155924462247052</c:v>
                </c:pt>
                <c:pt idx="139">
                  <c:v>11.569086729586848</c:v>
                </c:pt>
                <c:pt idx="140">
                  <c:v>10.982248996926648</c:v>
                </c:pt>
                <c:pt idx="141">
                  <c:v>10.395411264266444</c:v>
                </c:pt>
                <c:pt idx="142">
                  <c:v>9.8924074934148418</c:v>
                </c:pt>
                <c:pt idx="143">
                  <c:v>9.4732376843718402</c:v>
                </c:pt>
                <c:pt idx="144">
                  <c:v>9.0540678753288386</c:v>
                </c:pt>
                <c:pt idx="145">
                  <c:v>8.634898066285837</c:v>
                </c:pt>
                <c:pt idx="146">
                  <c:v>8.2157282572428354</c:v>
                </c:pt>
                <c:pt idx="147">
                  <c:v>7.880392410008433</c:v>
                </c:pt>
                <c:pt idx="148">
                  <c:v>7.5450565627740325</c:v>
                </c:pt>
                <c:pt idx="149">
                  <c:v>7.209720715539631</c:v>
                </c:pt>
                <c:pt idx="150">
                  <c:v>6.8743848683052287</c:v>
                </c:pt>
                <c:pt idx="151">
                  <c:v>6.6228829828794282</c:v>
                </c:pt>
                <c:pt idx="152">
                  <c:v>6.3713810974536269</c:v>
                </c:pt>
                <c:pt idx="153">
                  <c:v>6.1198792120278256</c:v>
                </c:pt>
                <c:pt idx="154">
                  <c:v>5.8683773266020252</c:v>
                </c:pt>
                <c:pt idx="155">
                  <c:v>5.700709402984824</c:v>
                </c:pt>
                <c:pt idx="156">
                  <c:v>5.5330414793676237</c:v>
                </c:pt>
                <c:pt idx="157">
                  <c:v>5.3653735557504234</c:v>
                </c:pt>
                <c:pt idx="158">
                  <c:v>5.1977056321332222</c:v>
                </c:pt>
                <c:pt idx="159">
                  <c:v>5.0300377085160211</c:v>
                </c:pt>
                <c:pt idx="160">
                  <c:v>4.8623697848988208</c:v>
                </c:pt>
                <c:pt idx="161">
                  <c:v>4.6947018612816196</c:v>
                </c:pt>
                <c:pt idx="162">
                  <c:v>4.5270339376644193</c:v>
                </c:pt>
                <c:pt idx="163">
                  <c:v>4.359366014047219</c:v>
                </c:pt>
                <c:pt idx="164">
                  <c:v>4.2755320522386189</c:v>
                </c:pt>
                <c:pt idx="165">
                  <c:v>4.1916980904300178</c:v>
                </c:pt>
                <c:pt idx="166">
                  <c:v>4.0240301668128176</c:v>
                </c:pt>
                <c:pt idx="167">
                  <c:v>3.94019620500421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14A-45E8-87A1-7BD2345ADB46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0,95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F$2:$F$169</c:f>
              <c:numCache>
                <c:formatCode>General</c:formatCode>
                <c:ptCount val="168"/>
                <c:pt idx="119">
                  <c:v>36.048603577698159</c:v>
                </c:pt>
                <c:pt idx="120">
                  <c:v>34.204256417908951</c:v>
                </c:pt>
                <c:pt idx="121">
                  <c:v>32.69524510535414</c:v>
                </c:pt>
                <c:pt idx="122">
                  <c:v>31.521569640033732</c:v>
                </c:pt>
                <c:pt idx="123">
                  <c:v>30.51556209833053</c:v>
                </c:pt>
                <c:pt idx="124">
                  <c:v>29.761056442053128</c:v>
                </c:pt>
                <c:pt idx="125">
                  <c:v>29.258052671201522</c:v>
                </c:pt>
                <c:pt idx="126">
                  <c:v>29.006550785775726</c:v>
                </c:pt>
                <c:pt idx="127">
                  <c:v>28.587380976732721</c:v>
                </c:pt>
                <c:pt idx="128">
                  <c:v>28.084377205881122</c:v>
                </c:pt>
                <c:pt idx="129">
                  <c:v>27.581373435029516</c:v>
                </c:pt>
                <c:pt idx="130">
                  <c:v>27.162203625986518</c:v>
                </c:pt>
                <c:pt idx="131">
                  <c:v>26.826867778752113</c:v>
                </c:pt>
                <c:pt idx="132">
                  <c:v>26.491531931517713</c:v>
                </c:pt>
                <c:pt idx="133">
                  <c:v>26.156196084283312</c:v>
                </c:pt>
                <c:pt idx="134">
                  <c:v>25.737026275240311</c:v>
                </c:pt>
                <c:pt idx="135">
                  <c:v>25.401690428005907</c:v>
                </c:pt>
                <c:pt idx="136">
                  <c:v>25.06635458077151</c:v>
                </c:pt>
                <c:pt idx="137">
                  <c:v>24.731018733537105</c:v>
                </c:pt>
                <c:pt idx="138">
                  <c:v>24.395682886302705</c:v>
                </c:pt>
                <c:pt idx="139">
                  <c:v>24.060347039068301</c:v>
                </c:pt>
                <c:pt idx="140">
                  <c:v>23.7250111918339</c:v>
                </c:pt>
                <c:pt idx="141">
                  <c:v>23.3896753445995</c:v>
                </c:pt>
                <c:pt idx="142">
                  <c:v>23.054339497365099</c:v>
                </c:pt>
                <c:pt idx="143">
                  <c:v>22.719003650130695</c:v>
                </c:pt>
                <c:pt idx="144">
                  <c:v>22.467501764704895</c:v>
                </c:pt>
                <c:pt idx="145">
                  <c:v>22.215999879279096</c:v>
                </c:pt>
                <c:pt idx="146">
                  <c:v>21.964497993853296</c:v>
                </c:pt>
                <c:pt idx="147">
                  <c:v>21.712996108427493</c:v>
                </c:pt>
                <c:pt idx="148">
                  <c:v>21.461494223001694</c:v>
                </c:pt>
                <c:pt idx="149">
                  <c:v>21.209992337575891</c:v>
                </c:pt>
                <c:pt idx="150">
                  <c:v>20.958490452150091</c:v>
                </c:pt>
                <c:pt idx="151">
                  <c:v>20.706988566724288</c:v>
                </c:pt>
                <c:pt idx="152">
                  <c:v>20.455486681298488</c:v>
                </c:pt>
                <c:pt idx="153">
                  <c:v>20.203984795872685</c:v>
                </c:pt>
                <c:pt idx="154">
                  <c:v>19.952482910446886</c:v>
                </c:pt>
                <c:pt idx="155">
                  <c:v>19.700981025021083</c:v>
                </c:pt>
                <c:pt idx="156">
                  <c:v>19.449479139595283</c:v>
                </c:pt>
                <c:pt idx="157">
                  <c:v>19.281811215978081</c:v>
                </c:pt>
                <c:pt idx="158">
                  <c:v>19.030309330552281</c:v>
                </c:pt>
                <c:pt idx="159">
                  <c:v>18.778807445126478</c:v>
                </c:pt>
                <c:pt idx="160">
                  <c:v>18.61113952150928</c:v>
                </c:pt>
                <c:pt idx="161">
                  <c:v>18.35963763608348</c:v>
                </c:pt>
                <c:pt idx="162">
                  <c:v>18.191969712466278</c:v>
                </c:pt>
                <c:pt idx="163">
                  <c:v>18.02430178884908</c:v>
                </c:pt>
                <c:pt idx="164">
                  <c:v>17.772799903423277</c:v>
                </c:pt>
                <c:pt idx="165">
                  <c:v>17.605131979806075</c:v>
                </c:pt>
                <c:pt idx="166">
                  <c:v>17.437464056188876</c:v>
                </c:pt>
                <c:pt idx="167">
                  <c:v>17.18596217076307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14A-45E8-87A1-7BD2345ADB46}"/>
            </c:ext>
          </c:extLst>
        </c:ser>
        <c:ser>
          <c:idx val="5"/>
          <c:order val="4"/>
          <c:tx>
            <c:strRef>
              <c:f>Sheet1!$G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G$2:$G$169</c:f>
              <c:numCache>
                <c:formatCode>General</c:formatCode>
                <c:ptCount val="168"/>
                <c:pt idx="119">
                  <c:v>36.048603577698159</c:v>
                </c:pt>
                <c:pt idx="120">
                  <c:v>34.623426226951949</c:v>
                </c:pt>
                <c:pt idx="121">
                  <c:v>33.785086608865946</c:v>
                </c:pt>
                <c:pt idx="122">
                  <c:v>33.365916799822941</c:v>
                </c:pt>
                <c:pt idx="123">
                  <c:v>33.114414914397145</c:v>
                </c:pt>
                <c:pt idx="124">
                  <c:v>33.28208283801434</c:v>
                </c:pt>
                <c:pt idx="125">
                  <c:v>33.868920570674547</c:v>
                </c:pt>
                <c:pt idx="126">
                  <c:v>34.958762074186353</c:v>
                </c:pt>
                <c:pt idx="127">
                  <c:v>35.629433768655154</c:v>
                </c:pt>
                <c:pt idx="128">
                  <c:v>36.132437539506753</c:v>
                </c:pt>
                <c:pt idx="129">
                  <c:v>36.63544131035836</c:v>
                </c:pt>
                <c:pt idx="130">
                  <c:v>37.389946966635762</c:v>
                </c:pt>
                <c:pt idx="131">
                  <c:v>38.228286584721758</c:v>
                </c:pt>
                <c:pt idx="132">
                  <c:v>39.150460164616369</c:v>
                </c:pt>
                <c:pt idx="133">
                  <c:v>39.988799782702372</c:v>
                </c:pt>
                <c:pt idx="134">
                  <c:v>40.743305438979775</c:v>
                </c:pt>
                <c:pt idx="135">
                  <c:v>41.497811095257177</c:v>
                </c:pt>
                <c:pt idx="136">
                  <c:v>42.419984675151781</c:v>
                </c:pt>
                <c:pt idx="137">
                  <c:v>43.425992216854986</c:v>
                </c:pt>
                <c:pt idx="138">
                  <c:v>44.348165796749591</c:v>
                </c:pt>
                <c:pt idx="139">
                  <c:v>45.270339376644195</c:v>
                </c:pt>
                <c:pt idx="140">
                  <c:v>46.192512956538792</c:v>
                </c:pt>
                <c:pt idx="141">
                  <c:v>47.114686536433396</c:v>
                </c:pt>
                <c:pt idx="142">
                  <c:v>48.120694078136601</c:v>
                </c:pt>
                <c:pt idx="143">
                  <c:v>49.126701619839807</c:v>
                </c:pt>
                <c:pt idx="144">
                  <c:v>50.132709161543019</c:v>
                </c:pt>
                <c:pt idx="145">
                  <c:v>51.138716703246217</c:v>
                </c:pt>
                <c:pt idx="146">
                  <c:v>52.144724244949423</c:v>
                </c:pt>
                <c:pt idx="147">
                  <c:v>53.150731786652628</c:v>
                </c:pt>
                <c:pt idx="148">
                  <c:v>54.240573290164434</c:v>
                </c:pt>
                <c:pt idx="149">
                  <c:v>55.330414793676233</c:v>
                </c:pt>
                <c:pt idx="150">
                  <c:v>56.420256297188047</c:v>
                </c:pt>
                <c:pt idx="151">
                  <c:v>57.510097800699846</c:v>
                </c:pt>
                <c:pt idx="152">
                  <c:v>58.683773266020246</c:v>
                </c:pt>
                <c:pt idx="153">
                  <c:v>59.857448731340661</c:v>
                </c:pt>
                <c:pt idx="154">
                  <c:v>61.031124196661061</c:v>
                </c:pt>
                <c:pt idx="155">
                  <c:v>62.204799661981468</c:v>
                </c:pt>
                <c:pt idx="156">
                  <c:v>63.378475127301868</c:v>
                </c:pt>
                <c:pt idx="157">
                  <c:v>64.635984554430877</c:v>
                </c:pt>
                <c:pt idx="158">
                  <c:v>65.893493981559885</c:v>
                </c:pt>
                <c:pt idx="159">
                  <c:v>67.151003408688879</c:v>
                </c:pt>
                <c:pt idx="160">
                  <c:v>68.408512835817902</c:v>
                </c:pt>
                <c:pt idx="161">
                  <c:v>69.749856224755504</c:v>
                </c:pt>
                <c:pt idx="162">
                  <c:v>71.091199613693107</c:v>
                </c:pt>
                <c:pt idx="163">
                  <c:v>72.516376964439303</c:v>
                </c:pt>
                <c:pt idx="164">
                  <c:v>73.857720353376919</c:v>
                </c:pt>
                <c:pt idx="165">
                  <c:v>75.282897704123116</c:v>
                </c:pt>
                <c:pt idx="166">
                  <c:v>76.708075054869326</c:v>
                </c:pt>
                <c:pt idx="167">
                  <c:v>78.2170863674241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31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2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5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H$2:$H$169</c:f>
              <c:numCache>
                <c:formatCode>0</c:formatCode>
                <c:ptCount val="168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  <c:pt idx="126">
                  <c:v>100</c:v>
                </c:pt>
                <c:pt idx="127">
                  <c:v>100</c:v>
                </c:pt>
                <c:pt idx="128">
                  <c:v>100</c:v>
                </c:pt>
                <c:pt idx="129">
                  <c:v>100</c:v>
                </c:pt>
                <c:pt idx="130">
                  <c:v>100</c:v>
                </c:pt>
                <c:pt idx="131">
                  <c:v>100</c:v>
                </c:pt>
                <c:pt idx="132">
                  <c:v>100</c:v>
                </c:pt>
                <c:pt idx="133">
                  <c:v>100</c:v>
                </c:pt>
                <c:pt idx="134">
                  <c:v>100</c:v>
                </c:pt>
                <c:pt idx="135">
                  <c:v>100</c:v>
                </c:pt>
                <c:pt idx="136">
                  <c:v>100</c:v>
                </c:pt>
                <c:pt idx="137">
                  <c:v>100</c:v>
                </c:pt>
                <c:pt idx="138">
                  <c:v>100</c:v>
                </c:pt>
                <c:pt idx="139">
                  <c:v>100</c:v>
                </c:pt>
                <c:pt idx="140">
                  <c:v>100</c:v>
                </c:pt>
                <c:pt idx="141">
                  <c:v>100</c:v>
                </c:pt>
                <c:pt idx="142">
                  <c:v>100</c:v>
                </c:pt>
                <c:pt idx="143">
                  <c:v>100</c:v>
                </c:pt>
                <c:pt idx="144">
                  <c:v>100</c:v>
                </c:pt>
                <c:pt idx="145">
                  <c:v>100</c:v>
                </c:pt>
                <c:pt idx="146">
                  <c:v>100</c:v>
                </c:pt>
                <c:pt idx="147">
                  <c:v>100</c:v>
                </c:pt>
                <c:pt idx="148">
                  <c:v>100</c:v>
                </c:pt>
                <c:pt idx="149">
                  <c:v>100</c:v>
                </c:pt>
                <c:pt idx="150">
                  <c:v>100</c:v>
                </c:pt>
                <c:pt idx="151">
                  <c:v>100</c:v>
                </c:pt>
                <c:pt idx="152">
                  <c:v>100</c:v>
                </c:pt>
                <c:pt idx="153">
                  <c:v>100</c:v>
                </c:pt>
                <c:pt idx="154">
                  <c:v>100</c:v>
                </c:pt>
                <c:pt idx="155">
                  <c:v>100</c:v>
                </c:pt>
                <c:pt idx="156">
                  <c:v>100</c:v>
                </c:pt>
                <c:pt idx="157">
                  <c:v>100</c:v>
                </c:pt>
                <c:pt idx="158">
                  <c:v>100</c:v>
                </c:pt>
                <c:pt idx="159">
                  <c:v>100</c:v>
                </c:pt>
                <c:pt idx="160">
                  <c:v>100</c:v>
                </c:pt>
                <c:pt idx="161">
                  <c:v>100</c:v>
                </c:pt>
                <c:pt idx="162">
                  <c:v>100</c:v>
                </c:pt>
                <c:pt idx="163">
                  <c:v>100</c:v>
                </c:pt>
                <c:pt idx="164">
                  <c:v>100</c:v>
                </c:pt>
                <c:pt idx="165">
                  <c:v>100</c:v>
                </c:pt>
                <c:pt idx="166">
                  <c:v>100</c:v>
                </c:pt>
                <c:pt idx="167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EF5-483F-B422-4E0629062509}"/>
            </c:ext>
          </c:extLst>
        </c:ser>
        <c:ser>
          <c:idx val="7"/>
          <c:order val="6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rgbClr val="C2FFDF"/>
            </a:solidFill>
            <a:ln>
              <a:noFill/>
            </a:ln>
            <a:effectLst/>
          </c:spP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I$2:$I$169</c:f>
              <c:numCache>
                <c:formatCode>0</c:formatCode>
                <c:ptCount val="168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  <c:pt idx="79">
                  <c:v>50</c:v>
                </c:pt>
                <c:pt idx="80">
                  <c:v>50</c:v>
                </c:pt>
                <c:pt idx="81">
                  <c:v>50</c:v>
                </c:pt>
                <c:pt idx="82">
                  <c:v>50</c:v>
                </c:pt>
                <c:pt idx="83">
                  <c:v>50</c:v>
                </c:pt>
                <c:pt idx="84">
                  <c:v>50</c:v>
                </c:pt>
                <c:pt idx="85">
                  <c:v>50</c:v>
                </c:pt>
                <c:pt idx="86">
                  <c:v>50</c:v>
                </c:pt>
                <c:pt idx="87">
                  <c:v>50</c:v>
                </c:pt>
                <c:pt idx="88">
                  <c:v>50</c:v>
                </c:pt>
                <c:pt idx="89">
                  <c:v>50</c:v>
                </c:pt>
                <c:pt idx="90">
                  <c:v>50</c:v>
                </c:pt>
                <c:pt idx="91">
                  <c:v>50</c:v>
                </c:pt>
                <c:pt idx="92">
                  <c:v>50</c:v>
                </c:pt>
                <c:pt idx="93">
                  <c:v>50</c:v>
                </c:pt>
                <c:pt idx="94">
                  <c:v>50</c:v>
                </c:pt>
                <c:pt idx="95">
                  <c:v>50</c:v>
                </c:pt>
                <c:pt idx="96">
                  <c:v>50</c:v>
                </c:pt>
                <c:pt idx="97">
                  <c:v>50</c:v>
                </c:pt>
                <c:pt idx="98">
                  <c:v>50</c:v>
                </c:pt>
                <c:pt idx="99">
                  <c:v>50</c:v>
                </c:pt>
                <c:pt idx="100">
                  <c:v>50</c:v>
                </c:pt>
                <c:pt idx="101">
                  <c:v>50</c:v>
                </c:pt>
                <c:pt idx="102">
                  <c:v>50</c:v>
                </c:pt>
                <c:pt idx="103">
                  <c:v>50</c:v>
                </c:pt>
                <c:pt idx="104">
                  <c:v>50</c:v>
                </c:pt>
                <c:pt idx="105">
                  <c:v>50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  <c:pt idx="110">
                  <c:v>50</c:v>
                </c:pt>
                <c:pt idx="111">
                  <c:v>50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0</c:v>
                </c:pt>
                <c:pt idx="122">
                  <c:v>50</c:v>
                </c:pt>
                <c:pt idx="123">
                  <c:v>50</c:v>
                </c:pt>
                <c:pt idx="124">
                  <c:v>50</c:v>
                </c:pt>
                <c:pt idx="125">
                  <c:v>50</c:v>
                </c:pt>
                <c:pt idx="126">
                  <c:v>50</c:v>
                </c:pt>
                <c:pt idx="127">
                  <c:v>50</c:v>
                </c:pt>
                <c:pt idx="128">
                  <c:v>50</c:v>
                </c:pt>
                <c:pt idx="129">
                  <c:v>50</c:v>
                </c:pt>
                <c:pt idx="130">
                  <c:v>50</c:v>
                </c:pt>
                <c:pt idx="131">
                  <c:v>50</c:v>
                </c:pt>
                <c:pt idx="132">
                  <c:v>50</c:v>
                </c:pt>
                <c:pt idx="133">
                  <c:v>50</c:v>
                </c:pt>
                <c:pt idx="134">
                  <c:v>50</c:v>
                </c:pt>
                <c:pt idx="135">
                  <c:v>50</c:v>
                </c:pt>
                <c:pt idx="136">
                  <c:v>50</c:v>
                </c:pt>
                <c:pt idx="137">
                  <c:v>50</c:v>
                </c:pt>
                <c:pt idx="138">
                  <c:v>50</c:v>
                </c:pt>
                <c:pt idx="139">
                  <c:v>50</c:v>
                </c:pt>
                <c:pt idx="140">
                  <c:v>50</c:v>
                </c:pt>
                <c:pt idx="141">
                  <c:v>50</c:v>
                </c:pt>
                <c:pt idx="142">
                  <c:v>50</c:v>
                </c:pt>
                <c:pt idx="143">
                  <c:v>50</c:v>
                </c:pt>
                <c:pt idx="144">
                  <c:v>50</c:v>
                </c:pt>
                <c:pt idx="145">
                  <c:v>50</c:v>
                </c:pt>
                <c:pt idx="146">
                  <c:v>50</c:v>
                </c:pt>
                <c:pt idx="147">
                  <c:v>50</c:v>
                </c:pt>
                <c:pt idx="148">
                  <c:v>50</c:v>
                </c:pt>
                <c:pt idx="149">
                  <c:v>50</c:v>
                </c:pt>
                <c:pt idx="150">
                  <c:v>50</c:v>
                </c:pt>
                <c:pt idx="151">
                  <c:v>50</c:v>
                </c:pt>
                <c:pt idx="152">
                  <c:v>50</c:v>
                </c:pt>
                <c:pt idx="153">
                  <c:v>50</c:v>
                </c:pt>
                <c:pt idx="154">
                  <c:v>50</c:v>
                </c:pt>
                <c:pt idx="155">
                  <c:v>50</c:v>
                </c:pt>
                <c:pt idx="156">
                  <c:v>50</c:v>
                </c:pt>
                <c:pt idx="157">
                  <c:v>50</c:v>
                </c:pt>
                <c:pt idx="158">
                  <c:v>50</c:v>
                </c:pt>
                <c:pt idx="159">
                  <c:v>50</c:v>
                </c:pt>
                <c:pt idx="160">
                  <c:v>50</c:v>
                </c:pt>
                <c:pt idx="161">
                  <c:v>50</c:v>
                </c:pt>
                <c:pt idx="162">
                  <c:v>50</c:v>
                </c:pt>
                <c:pt idx="163">
                  <c:v>50</c:v>
                </c:pt>
                <c:pt idx="164">
                  <c:v>50</c:v>
                </c:pt>
                <c:pt idx="165">
                  <c:v>50</c:v>
                </c:pt>
                <c:pt idx="166">
                  <c:v>50</c:v>
                </c:pt>
                <c:pt idx="167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EF5-483F-B422-4E06290625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B$2:$B$169</c:f>
              <c:numCache>
                <c:formatCode>0</c:formatCode>
                <c:ptCount val="168"/>
                <c:pt idx="0">
                  <c:v>384.32038733143384</c:v>
                </c:pt>
                <c:pt idx="1">
                  <c:v>385.51881379748386</c:v>
                </c:pt>
                <c:pt idx="2">
                  <c:v>393.15878251855315</c:v>
                </c:pt>
                <c:pt idx="3">
                  <c:v>410.08655635151047</c:v>
                </c:pt>
                <c:pt idx="4">
                  <c:v>408.81322823133223</c:v>
                </c:pt>
                <c:pt idx="5">
                  <c:v>420.57278792944862</c:v>
                </c:pt>
                <c:pt idx="6">
                  <c:v>421.54650943311435</c:v>
                </c:pt>
                <c:pt idx="7">
                  <c:v>450.45854792657246</c:v>
                </c:pt>
                <c:pt idx="8">
                  <c:v>463.79104236137954</c:v>
                </c:pt>
                <c:pt idx="9">
                  <c:v>464.76476386504521</c:v>
                </c:pt>
                <c:pt idx="10">
                  <c:v>468.5098465714517</c:v>
                </c:pt>
                <c:pt idx="11">
                  <c:v>475.70040536775213</c:v>
                </c:pt>
                <c:pt idx="12">
                  <c:v>493.60190070437517</c:v>
                </c:pt>
                <c:pt idx="13">
                  <c:v>503.63872235754451</c:v>
                </c:pt>
                <c:pt idx="14">
                  <c:v>496.972475140141</c:v>
                </c:pt>
                <c:pt idx="15">
                  <c:v>513.3759373942014</c:v>
                </c:pt>
                <c:pt idx="16">
                  <c:v>539.74131964730304</c:v>
                </c:pt>
                <c:pt idx="17">
                  <c:v>559.74006129951374</c:v>
                </c:pt>
                <c:pt idx="18">
                  <c:v>577.11724505723987</c:v>
                </c:pt>
                <c:pt idx="19">
                  <c:v>587.67837828930612</c:v>
                </c:pt>
                <c:pt idx="20">
                  <c:v>611.49710430205141</c:v>
                </c:pt>
                <c:pt idx="21">
                  <c:v>625.72841858639606</c:v>
                </c:pt>
                <c:pt idx="22">
                  <c:v>676.0623301604993</c:v>
                </c:pt>
                <c:pt idx="23">
                  <c:v>687.52228324210307</c:v>
                </c:pt>
                <c:pt idx="24">
                  <c:v>709.99277948054203</c:v>
                </c:pt>
                <c:pt idx="25">
                  <c:v>752.76162398770418</c:v>
                </c:pt>
                <c:pt idx="26">
                  <c:v>774.33330037660551</c:v>
                </c:pt>
                <c:pt idx="27">
                  <c:v>786.0928600747219</c:v>
                </c:pt>
                <c:pt idx="28">
                  <c:v>801.82220744162908</c:v>
                </c:pt>
                <c:pt idx="29">
                  <c:v>799.72496112604153</c:v>
                </c:pt>
                <c:pt idx="30">
                  <c:v>811.93393074892663</c:v>
                </c:pt>
                <c:pt idx="31">
                  <c:v>824.81701525896506</c:v>
                </c:pt>
                <c:pt idx="32">
                  <c:v>799.72496112604153</c:v>
                </c:pt>
                <c:pt idx="33">
                  <c:v>801.22299420860406</c:v>
                </c:pt>
                <c:pt idx="34">
                  <c:v>778.4528913536526</c:v>
                </c:pt>
                <c:pt idx="35">
                  <c:v>754.93377195741994</c:v>
                </c:pt>
                <c:pt idx="36">
                  <c:v>737.93109647033441</c:v>
                </c:pt>
                <c:pt idx="37">
                  <c:v>741.3016709061003</c:v>
                </c:pt>
                <c:pt idx="38">
                  <c:v>686.47366008430924</c:v>
                </c:pt>
                <c:pt idx="39">
                  <c:v>682.27916745313405</c:v>
                </c:pt>
                <c:pt idx="40">
                  <c:v>656.13849016241682</c:v>
                </c:pt>
                <c:pt idx="41">
                  <c:v>646.10166850924736</c:v>
                </c:pt>
                <c:pt idx="42">
                  <c:v>634.56681377351538</c:v>
                </c:pt>
                <c:pt idx="43">
                  <c:v>609.84926791123257</c:v>
                </c:pt>
                <c:pt idx="44">
                  <c:v>572.62314580955206</c:v>
                </c:pt>
                <c:pt idx="45">
                  <c:v>567.67963663709554</c:v>
                </c:pt>
                <c:pt idx="46">
                  <c:v>552.02519092431635</c:v>
                </c:pt>
                <c:pt idx="47">
                  <c:v>530.22880957303062</c:v>
                </c:pt>
                <c:pt idx="48">
                  <c:v>517.3457250629923</c:v>
                </c:pt>
                <c:pt idx="49">
                  <c:v>507.3089034098229</c:v>
                </c:pt>
                <c:pt idx="50">
                  <c:v>473.75296236042078</c:v>
                </c:pt>
                <c:pt idx="51">
                  <c:v>441.9197593559656</c:v>
                </c:pt>
                <c:pt idx="52">
                  <c:v>422.96964086154878</c:v>
                </c:pt>
                <c:pt idx="53">
                  <c:v>391.73565109011872</c:v>
                </c:pt>
                <c:pt idx="54">
                  <c:v>379.75138642961792</c:v>
                </c:pt>
                <c:pt idx="55">
                  <c:v>372.11141770854869</c:v>
                </c:pt>
                <c:pt idx="56">
                  <c:v>355.85775876274454</c:v>
                </c:pt>
                <c:pt idx="57">
                  <c:v>336.98254192245582</c:v>
                </c:pt>
                <c:pt idx="58">
                  <c:v>332.56334432889616</c:v>
                </c:pt>
                <c:pt idx="59">
                  <c:v>307.99560177486956</c:v>
                </c:pt>
                <c:pt idx="60">
                  <c:v>290.31881140063098</c:v>
                </c:pt>
                <c:pt idx="61">
                  <c:v>274.21495576308308</c:v>
                </c:pt>
                <c:pt idx="62">
                  <c:v>275.71298884564567</c:v>
                </c:pt>
                <c:pt idx="63">
                  <c:v>239.90999817239964</c:v>
                </c:pt>
                <c:pt idx="64">
                  <c:v>217.66420689634512</c:v>
                </c:pt>
                <c:pt idx="65">
                  <c:v>211.37246794958219</c:v>
                </c:pt>
                <c:pt idx="66">
                  <c:v>208.45130343858514</c:v>
                </c:pt>
                <c:pt idx="67">
                  <c:v>201.03603967990031</c:v>
                </c:pt>
                <c:pt idx="68">
                  <c:v>201.63525291292532</c:v>
                </c:pt>
                <c:pt idx="69">
                  <c:v>193.69567757534358</c:v>
                </c:pt>
                <c:pt idx="70">
                  <c:v>205.90464719822873</c:v>
                </c:pt>
                <c:pt idx="71">
                  <c:v>204.10700749915364</c:v>
                </c:pt>
                <c:pt idx="72">
                  <c:v>182.4604294561241</c:v>
                </c:pt>
                <c:pt idx="73">
                  <c:v>170.25145983323895</c:v>
                </c:pt>
                <c:pt idx="74">
                  <c:v>162.83619607455412</c:v>
                </c:pt>
                <c:pt idx="75">
                  <c:v>157.7428835938413</c:v>
                </c:pt>
                <c:pt idx="76">
                  <c:v>152.94917772964098</c:v>
                </c:pt>
                <c:pt idx="77">
                  <c:v>146.28293051223744</c:v>
                </c:pt>
                <c:pt idx="78">
                  <c:v>140.96491306914021</c:v>
                </c:pt>
                <c:pt idx="79">
                  <c:v>134.14886254348039</c:v>
                </c:pt>
                <c:pt idx="80">
                  <c:v>129.80456660404889</c:v>
                </c:pt>
                <c:pt idx="81">
                  <c:v>121.790089612339</c:v>
                </c:pt>
                <c:pt idx="82">
                  <c:v>119.01872840959818</c:v>
                </c:pt>
                <c:pt idx="83">
                  <c:v>119.84264660500762</c:v>
                </c:pt>
                <c:pt idx="84">
                  <c:v>115.04894074080732</c:v>
                </c:pt>
                <c:pt idx="85">
                  <c:v>110.10543156835075</c:v>
                </c:pt>
                <c:pt idx="86">
                  <c:v>107.93328359863499</c:v>
                </c:pt>
                <c:pt idx="87">
                  <c:v>109.80582495183823</c:v>
                </c:pt>
                <c:pt idx="88">
                  <c:v>107.48387367386621</c:v>
                </c:pt>
                <c:pt idx="89">
                  <c:v>104.03839758397224</c:v>
                </c:pt>
                <c:pt idx="90">
                  <c:v>102.16585623076899</c:v>
                </c:pt>
                <c:pt idx="91">
                  <c:v>106.88466044084117</c:v>
                </c:pt>
                <c:pt idx="92">
                  <c:v>98.420773524362502</c:v>
                </c:pt>
                <c:pt idx="93">
                  <c:v>93.102756081265298</c:v>
                </c:pt>
                <c:pt idx="94">
                  <c:v>88.383951871193119</c:v>
                </c:pt>
                <c:pt idx="95">
                  <c:v>86.66121382624614</c:v>
                </c:pt>
                <c:pt idx="96">
                  <c:v>84.264360894145995</c:v>
                </c:pt>
                <c:pt idx="97">
                  <c:v>82.766327811583395</c:v>
                </c:pt>
                <c:pt idx="98">
                  <c:v>73.478522699695304</c:v>
                </c:pt>
                <c:pt idx="99">
                  <c:v>71.081669767595145</c:v>
                </c:pt>
                <c:pt idx="100">
                  <c:v>69.508735030904418</c:v>
                </c:pt>
                <c:pt idx="101">
                  <c:v>64.115815933679073</c:v>
                </c:pt>
                <c:pt idx="102">
                  <c:v>58.573093528197468</c:v>
                </c:pt>
                <c:pt idx="103">
                  <c:v>57.149962099763009</c:v>
                </c:pt>
                <c:pt idx="104">
                  <c:v>55.577027363072283</c:v>
                </c:pt>
                <c:pt idx="105">
                  <c:v>54.603305859406603</c:v>
                </c:pt>
                <c:pt idx="106">
                  <c:v>53.404879393356524</c:v>
                </c:pt>
                <c:pt idx="107">
                  <c:v>50.109206611718811</c:v>
                </c:pt>
                <c:pt idx="108">
                  <c:v>47.637452025490532</c:v>
                </c:pt>
                <c:pt idx="109">
                  <c:v>45.165697439262253</c:v>
                </c:pt>
                <c:pt idx="110">
                  <c:v>44.042172627340307</c:v>
                </c:pt>
                <c:pt idx="111">
                  <c:v>43.442959394315267</c:v>
                </c:pt>
                <c:pt idx="112">
                  <c:v>39.398270071396254</c:v>
                </c:pt>
                <c:pt idx="113">
                  <c:v>34.454760898939696</c:v>
                </c:pt>
                <c:pt idx="114">
                  <c:v>32.13280962096767</c:v>
                </c:pt>
                <c:pt idx="115">
                  <c:v>30.634776538405074</c:v>
                </c:pt>
                <c:pt idx="116">
                  <c:v>28.837136839329958</c:v>
                </c:pt>
                <c:pt idx="117">
                  <c:v>27.039497140254845</c:v>
                </c:pt>
                <c:pt idx="118">
                  <c:v>27.264202102639235</c:v>
                </c:pt>
                <c:pt idx="119">
                  <c:v>25.017152478795342</c:v>
                </c:pt>
                <c:pt idx="120">
                  <c:v>23.668922704489006</c:v>
                </c:pt>
                <c:pt idx="121">
                  <c:v>21.94618465954202</c:v>
                </c:pt>
                <c:pt idx="122">
                  <c:v>24.043430975129652</c:v>
                </c:pt>
                <c:pt idx="123">
                  <c:v>23.668922704489006</c:v>
                </c:pt>
                <c:pt idx="124">
                  <c:v>23.069709471463966</c:v>
                </c:pt>
                <c:pt idx="125">
                  <c:v>22.77010285495145</c:v>
                </c:pt>
                <c:pt idx="126">
                  <c:v>22.69520120082332</c:v>
                </c:pt>
                <c:pt idx="127">
                  <c:v>22.84500450907958</c:v>
                </c:pt>
                <c:pt idx="128">
                  <c:v>21.79638135128576</c:v>
                </c:pt>
                <c:pt idx="129">
                  <c:v>18.126200299007401</c:v>
                </c:pt>
                <c:pt idx="130">
                  <c:v>16.703068870572938</c:v>
                </c:pt>
                <c:pt idx="131">
                  <c:v>15.72934736690725</c:v>
                </c:pt>
                <c:pt idx="132">
                  <c:v>14.830527517369692</c:v>
                </c:pt>
                <c:pt idx="133">
                  <c:v>13.482297743063357</c:v>
                </c:pt>
                <c:pt idx="134">
                  <c:v>12.059166314628893</c:v>
                </c:pt>
                <c:pt idx="135">
                  <c:v>12.283871277013283</c:v>
                </c:pt>
                <c:pt idx="136">
                  <c:v>14.081510976088396</c:v>
                </c:pt>
                <c:pt idx="137">
                  <c:v>14.755625863241564</c:v>
                </c:pt>
                <c:pt idx="138">
                  <c:v>15.3548390962666</c:v>
                </c:pt>
                <c:pt idx="139">
                  <c:v>16.328560599932288</c:v>
                </c:pt>
                <c:pt idx="140">
                  <c:v>17.227380449469848</c:v>
                </c:pt>
                <c:pt idx="141">
                  <c:v>16.777970524701068</c:v>
                </c:pt>
                <c:pt idx="142">
                  <c:v>16.328560599932288</c:v>
                </c:pt>
                <c:pt idx="143">
                  <c:v>15.504642404522862</c:v>
                </c:pt>
                <c:pt idx="144">
                  <c:v>16.253658945804158</c:v>
                </c:pt>
                <c:pt idx="145">
                  <c:v>16.927773832957328</c:v>
                </c:pt>
                <c:pt idx="146">
                  <c:v>17.0775771412135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C$2:$C$169</c:f>
              <c:numCache>
                <c:formatCode>General</c:formatCode>
                <c:ptCount val="16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14A-45E8-87A1-7BD2345ADB4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75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D$2:$D$169</c:f>
              <c:numCache>
                <c:formatCode>General</c:formatCode>
                <c:ptCount val="168"/>
                <c:pt idx="119">
                  <c:v>25.092054132923472</c:v>
                </c:pt>
                <c:pt idx="120">
                  <c:v>23.519119396232746</c:v>
                </c:pt>
                <c:pt idx="121">
                  <c:v>22.021086313670153</c:v>
                </c:pt>
                <c:pt idx="122">
                  <c:v>20.672856539363814</c:v>
                </c:pt>
                <c:pt idx="123">
                  <c:v>19.474430073313741</c:v>
                </c:pt>
                <c:pt idx="124">
                  <c:v>18.350905261391794</c:v>
                </c:pt>
                <c:pt idx="125">
                  <c:v>17.377183757726105</c:v>
                </c:pt>
                <c:pt idx="126">
                  <c:v>16.403462254060418</c:v>
                </c:pt>
                <c:pt idx="127">
                  <c:v>15.504642404522862</c:v>
                </c:pt>
                <c:pt idx="128">
                  <c:v>14.605822554985304</c:v>
                </c:pt>
                <c:pt idx="129">
                  <c:v>13.781904359575877</c:v>
                </c:pt>
                <c:pt idx="130">
                  <c:v>13.032887818294579</c:v>
                </c:pt>
                <c:pt idx="131">
                  <c:v>12.358772931141411</c:v>
                </c:pt>
                <c:pt idx="132">
                  <c:v>11.684658043988243</c:v>
                </c:pt>
                <c:pt idx="133">
                  <c:v>11.085444810963205</c:v>
                </c:pt>
                <c:pt idx="134">
                  <c:v>10.486231577938167</c:v>
                </c:pt>
                <c:pt idx="135">
                  <c:v>9.9619199990412586</c:v>
                </c:pt>
                <c:pt idx="136">
                  <c:v>9.4376084201443504</c:v>
                </c:pt>
                <c:pt idx="137">
                  <c:v>8.9132968412474423</c:v>
                </c:pt>
                <c:pt idx="138">
                  <c:v>8.4638869164786641</c:v>
                </c:pt>
                <c:pt idx="139">
                  <c:v>8.0144769917098841</c:v>
                </c:pt>
                <c:pt idx="140">
                  <c:v>7.639968721069236</c:v>
                </c:pt>
                <c:pt idx="141">
                  <c:v>7.2654604504285878</c:v>
                </c:pt>
                <c:pt idx="142">
                  <c:v>6.8909521797879387</c:v>
                </c:pt>
                <c:pt idx="143">
                  <c:v>6.5913455632754197</c:v>
                </c:pt>
                <c:pt idx="144">
                  <c:v>6.2917389467628997</c:v>
                </c:pt>
                <c:pt idx="145">
                  <c:v>5.9921323302503815</c:v>
                </c:pt>
                <c:pt idx="146">
                  <c:v>5.7674273678659915</c:v>
                </c:pt>
                <c:pt idx="147">
                  <c:v>5.4678207513534733</c:v>
                </c:pt>
                <c:pt idx="148">
                  <c:v>5.2431157889690834</c:v>
                </c:pt>
                <c:pt idx="149">
                  <c:v>5.0184108265846943</c:v>
                </c:pt>
                <c:pt idx="150">
                  <c:v>4.7937058642003052</c:v>
                </c:pt>
                <c:pt idx="151">
                  <c:v>4.6439025559440452</c:v>
                </c:pt>
                <c:pt idx="152">
                  <c:v>4.4940992476877861</c:v>
                </c:pt>
                <c:pt idx="153">
                  <c:v>4.269394285303397</c:v>
                </c:pt>
                <c:pt idx="154">
                  <c:v>4.1195909770471371</c:v>
                </c:pt>
                <c:pt idx="155">
                  <c:v>3.9697876687908775</c:v>
                </c:pt>
                <c:pt idx="156">
                  <c:v>3.894886014662748</c:v>
                </c:pt>
                <c:pt idx="157">
                  <c:v>3.745082706406488</c:v>
                </c:pt>
                <c:pt idx="158">
                  <c:v>3.5952793981502289</c:v>
                </c:pt>
                <c:pt idx="159">
                  <c:v>3.4454760898939694</c:v>
                </c:pt>
                <c:pt idx="160">
                  <c:v>3.3705744357658394</c:v>
                </c:pt>
                <c:pt idx="161">
                  <c:v>3.2956727816377098</c:v>
                </c:pt>
                <c:pt idx="162">
                  <c:v>3.2207711275095798</c:v>
                </c:pt>
                <c:pt idx="163">
                  <c:v>3.1458694733814498</c:v>
                </c:pt>
                <c:pt idx="164">
                  <c:v>3.0709678192533207</c:v>
                </c:pt>
                <c:pt idx="165">
                  <c:v>2.9960661651251908</c:v>
                </c:pt>
                <c:pt idx="166">
                  <c:v>2.9211645109970608</c:v>
                </c:pt>
                <c:pt idx="167">
                  <c:v>2.84626285686893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14A-45E8-87A1-7BD2345ADB46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0,95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F$2:$F$169</c:f>
              <c:numCache>
                <c:formatCode>General</c:formatCode>
                <c:ptCount val="168"/>
                <c:pt idx="119">
                  <c:v>25.092054132923472</c:v>
                </c:pt>
                <c:pt idx="120">
                  <c:v>23.818726012745266</c:v>
                </c:pt>
                <c:pt idx="121">
                  <c:v>22.77010285495145</c:v>
                </c:pt>
                <c:pt idx="122">
                  <c:v>21.94618465954202</c:v>
                </c:pt>
                <c:pt idx="123">
                  <c:v>21.272069772388853</c:v>
                </c:pt>
                <c:pt idx="124">
                  <c:v>20.747758193491947</c:v>
                </c:pt>
                <c:pt idx="125">
                  <c:v>20.448151576979427</c:v>
                </c:pt>
                <c:pt idx="126">
                  <c:v>20.298348268723167</c:v>
                </c:pt>
                <c:pt idx="127">
                  <c:v>19.998741652210647</c:v>
                </c:pt>
                <c:pt idx="128">
                  <c:v>19.624233381570001</c:v>
                </c:pt>
                <c:pt idx="129">
                  <c:v>19.249725110929347</c:v>
                </c:pt>
                <c:pt idx="130">
                  <c:v>18.950118494416831</c:v>
                </c:pt>
                <c:pt idx="131">
                  <c:v>18.725413532032441</c:v>
                </c:pt>
                <c:pt idx="132">
                  <c:v>18.500708569648051</c:v>
                </c:pt>
                <c:pt idx="133">
                  <c:v>18.276003607263661</c:v>
                </c:pt>
                <c:pt idx="134">
                  <c:v>17.976396990751145</c:v>
                </c:pt>
                <c:pt idx="135">
                  <c:v>17.751692028366755</c:v>
                </c:pt>
                <c:pt idx="136">
                  <c:v>17.526987065982365</c:v>
                </c:pt>
                <c:pt idx="137">
                  <c:v>17.377183757726105</c:v>
                </c:pt>
                <c:pt idx="138">
                  <c:v>17.152478795341715</c:v>
                </c:pt>
                <c:pt idx="139">
                  <c:v>16.927773832957328</c:v>
                </c:pt>
                <c:pt idx="140">
                  <c:v>16.703068870572938</c:v>
                </c:pt>
                <c:pt idx="141">
                  <c:v>16.478363908188548</c:v>
                </c:pt>
                <c:pt idx="142">
                  <c:v>16.253658945804158</c:v>
                </c:pt>
                <c:pt idx="143">
                  <c:v>16.028953983419768</c:v>
                </c:pt>
                <c:pt idx="144">
                  <c:v>15.804249021035382</c:v>
                </c:pt>
                <c:pt idx="145">
                  <c:v>15.654445712779122</c:v>
                </c:pt>
                <c:pt idx="146">
                  <c:v>15.429740750394732</c:v>
                </c:pt>
                <c:pt idx="147">
                  <c:v>15.205035788010344</c:v>
                </c:pt>
                <c:pt idx="148">
                  <c:v>15.055232479754084</c:v>
                </c:pt>
                <c:pt idx="149">
                  <c:v>14.830527517369692</c:v>
                </c:pt>
                <c:pt idx="150">
                  <c:v>14.680724209113436</c:v>
                </c:pt>
                <c:pt idx="151">
                  <c:v>14.530920900857176</c:v>
                </c:pt>
                <c:pt idx="152">
                  <c:v>14.306215938472786</c:v>
                </c:pt>
                <c:pt idx="153">
                  <c:v>14.156412630216526</c:v>
                </c:pt>
                <c:pt idx="154">
                  <c:v>14.006609321960266</c:v>
                </c:pt>
                <c:pt idx="155">
                  <c:v>13.781904359575877</c:v>
                </c:pt>
                <c:pt idx="156">
                  <c:v>13.632101051319617</c:v>
                </c:pt>
                <c:pt idx="157">
                  <c:v>13.482297743063357</c:v>
                </c:pt>
                <c:pt idx="158">
                  <c:v>13.257592780678969</c:v>
                </c:pt>
                <c:pt idx="159">
                  <c:v>13.107789472422709</c:v>
                </c:pt>
                <c:pt idx="160">
                  <c:v>12.957986164166449</c:v>
                </c:pt>
                <c:pt idx="161">
                  <c:v>12.808182855910191</c:v>
                </c:pt>
                <c:pt idx="162">
                  <c:v>12.658379547653931</c:v>
                </c:pt>
                <c:pt idx="163">
                  <c:v>12.508576239397671</c:v>
                </c:pt>
                <c:pt idx="164">
                  <c:v>12.358772931141411</c:v>
                </c:pt>
                <c:pt idx="165">
                  <c:v>12.283871277013283</c:v>
                </c:pt>
                <c:pt idx="166">
                  <c:v>12.134067968757023</c:v>
                </c:pt>
                <c:pt idx="167">
                  <c:v>11.9842646605007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14A-45E8-87A1-7BD2345ADB46}"/>
            </c:ext>
          </c:extLst>
        </c:ser>
        <c:ser>
          <c:idx val="5"/>
          <c:order val="4"/>
          <c:tx>
            <c:strRef>
              <c:f>Sheet1!$G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G$2:$G$169</c:f>
              <c:numCache>
                <c:formatCode>General</c:formatCode>
                <c:ptCount val="168"/>
                <c:pt idx="119">
                  <c:v>25.092054132923472</c:v>
                </c:pt>
                <c:pt idx="120">
                  <c:v>24.118332629257786</c:v>
                </c:pt>
                <c:pt idx="121">
                  <c:v>23.519119396232746</c:v>
                </c:pt>
                <c:pt idx="122">
                  <c:v>23.219512779720226</c:v>
                </c:pt>
                <c:pt idx="123">
                  <c:v>23.1446111255921</c:v>
                </c:pt>
                <c:pt idx="124">
                  <c:v>23.294414433848356</c:v>
                </c:pt>
                <c:pt idx="125">
                  <c:v>23.743824358617136</c:v>
                </c:pt>
                <c:pt idx="126">
                  <c:v>24.492840899898432</c:v>
                </c:pt>
                <c:pt idx="127">
                  <c:v>24.942250824667212</c:v>
                </c:pt>
                <c:pt idx="128">
                  <c:v>25.316759095307862</c:v>
                </c:pt>
                <c:pt idx="129">
                  <c:v>25.691267365948512</c:v>
                </c:pt>
                <c:pt idx="130">
                  <c:v>26.215578944845419</c:v>
                </c:pt>
                <c:pt idx="131">
                  <c:v>26.814792177870459</c:v>
                </c:pt>
                <c:pt idx="132">
                  <c:v>27.488907065023625</c:v>
                </c:pt>
                <c:pt idx="133">
                  <c:v>28.088120298048661</c:v>
                </c:pt>
                <c:pt idx="134">
                  <c:v>28.612431876945571</c:v>
                </c:pt>
                <c:pt idx="135">
                  <c:v>29.136743455842478</c:v>
                </c:pt>
                <c:pt idx="136">
                  <c:v>29.735956688867518</c:v>
                </c:pt>
                <c:pt idx="137">
                  <c:v>30.335169921892554</c:v>
                </c:pt>
                <c:pt idx="138">
                  <c:v>31.009284809045724</c:v>
                </c:pt>
                <c:pt idx="139">
                  <c:v>31.608498042070764</c:v>
                </c:pt>
                <c:pt idx="140">
                  <c:v>32.207711275095797</c:v>
                </c:pt>
                <c:pt idx="141">
                  <c:v>32.806924508120836</c:v>
                </c:pt>
                <c:pt idx="142">
                  <c:v>33.481039395274003</c:v>
                </c:pt>
                <c:pt idx="143">
                  <c:v>34.155154282427176</c:v>
                </c:pt>
                <c:pt idx="144">
                  <c:v>34.904170823708469</c:v>
                </c:pt>
                <c:pt idx="145">
                  <c:v>35.578285710861643</c:v>
                </c:pt>
                <c:pt idx="146">
                  <c:v>36.327302252142935</c:v>
                </c:pt>
                <c:pt idx="147">
                  <c:v>37.076318793424235</c:v>
                </c:pt>
                <c:pt idx="148">
                  <c:v>37.825335334705535</c:v>
                </c:pt>
                <c:pt idx="149">
                  <c:v>38.574351875986828</c:v>
                </c:pt>
                <c:pt idx="150">
                  <c:v>39.398270071396254</c:v>
                </c:pt>
                <c:pt idx="151">
                  <c:v>40.147286612677554</c:v>
                </c:pt>
                <c:pt idx="152">
                  <c:v>40.971204808086981</c:v>
                </c:pt>
                <c:pt idx="153">
                  <c:v>41.720221349368281</c:v>
                </c:pt>
                <c:pt idx="154">
                  <c:v>42.544139544777707</c:v>
                </c:pt>
                <c:pt idx="155">
                  <c:v>43.442959394315267</c:v>
                </c:pt>
                <c:pt idx="156">
                  <c:v>44.266877589724693</c:v>
                </c:pt>
                <c:pt idx="157">
                  <c:v>45.090795785134119</c:v>
                </c:pt>
                <c:pt idx="158">
                  <c:v>45.989615634671679</c:v>
                </c:pt>
                <c:pt idx="159">
                  <c:v>46.888435484209232</c:v>
                </c:pt>
                <c:pt idx="160">
                  <c:v>47.862156987874918</c:v>
                </c:pt>
                <c:pt idx="161">
                  <c:v>48.760976837412478</c:v>
                </c:pt>
                <c:pt idx="162">
                  <c:v>49.659796686950038</c:v>
                </c:pt>
                <c:pt idx="163">
                  <c:v>50.633518190615725</c:v>
                </c:pt>
                <c:pt idx="164">
                  <c:v>51.607239694281411</c:v>
                </c:pt>
                <c:pt idx="165">
                  <c:v>52.58096119794709</c:v>
                </c:pt>
                <c:pt idx="166">
                  <c:v>53.554682701612784</c:v>
                </c:pt>
                <c:pt idx="167">
                  <c:v>54.528404205278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31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2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B$155:$B$322</c:f>
              <c:numCache>
                <c:formatCode>0</c:formatCode>
                <c:ptCount val="168"/>
                <c:pt idx="0">
                  <c:v>1067</c:v>
                </c:pt>
                <c:pt idx="1">
                  <c:v>1474</c:v>
                </c:pt>
                <c:pt idx="2">
                  <c:v>1323</c:v>
                </c:pt>
                <c:pt idx="3">
                  <c:v>1193</c:v>
                </c:pt>
                <c:pt idx="4">
                  <c:v>1301</c:v>
                </c:pt>
                <c:pt idx="5">
                  <c:v>780</c:v>
                </c:pt>
                <c:pt idx="6">
                  <c:v>287</c:v>
                </c:pt>
                <c:pt idx="7">
                  <c:v>1237</c:v>
                </c:pt>
                <c:pt idx="8">
                  <c:v>1446</c:v>
                </c:pt>
                <c:pt idx="9">
                  <c:v>1549</c:v>
                </c:pt>
                <c:pt idx="10">
                  <c:v>1356</c:v>
                </c:pt>
                <c:pt idx="11">
                  <c:v>1208</c:v>
                </c:pt>
                <c:pt idx="12">
                  <c:v>965</c:v>
                </c:pt>
                <c:pt idx="13">
                  <c:v>382</c:v>
                </c:pt>
                <c:pt idx="14">
                  <c:v>1361</c:v>
                </c:pt>
                <c:pt idx="15">
                  <c:v>2017</c:v>
                </c:pt>
                <c:pt idx="16">
                  <c:v>1826</c:v>
                </c:pt>
                <c:pt idx="17">
                  <c:v>1867</c:v>
                </c:pt>
                <c:pt idx="18">
                  <c:v>1980</c:v>
                </c:pt>
                <c:pt idx="19">
                  <c:v>1260</c:v>
                </c:pt>
                <c:pt idx="20">
                  <c:v>669</c:v>
                </c:pt>
                <c:pt idx="21">
                  <c:v>1796</c:v>
                </c:pt>
                <c:pt idx="22">
                  <c:v>2596</c:v>
                </c:pt>
                <c:pt idx="23">
                  <c:v>2203</c:v>
                </c:pt>
                <c:pt idx="24">
                  <c:v>2397</c:v>
                </c:pt>
                <c:pt idx="25">
                  <c:v>2378</c:v>
                </c:pt>
                <c:pt idx="26">
                  <c:v>1573</c:v>
                </c:pt>
                <c:pt idx="27">
                  <c:v>796</c:v>
                </c:pt>
                <c:pt idx="28">
                  <c:v>1927</c:v>
                </c:pt>
                <c:pt idx="29">
                  <c:v>2911</c:v>
                </c:pt>
                <c:pt idx="30">
                  <c:v>2451</c:v>
                </c:pt>
                <c:pt idx="31">
                  <c:v>2612</c:v>
                </c:pt>
                <c:pt idx="32">
                  <c:v>2161</c:v>
                </c:pt>
                <c:pt idx="33">
                  <c:v>1763</c:v>
                </c:pt>
                <c:pt idx="34">
                  <c:v>703</c:v>
                </c:pt>
                <c:pt idx="35">
                  <c:v>1561</c:v>
                </c:pt>
                <c:pt idx="36">
                  <c:v>2643</c:v>
                </c:pt>
                <c:pt idx="37">
                  <c:v>2375</c:v>
                </c:pt>
                <c:pt idx="38">
                  <c:v>1702</c:v>
                </c:pt>
                <c:pt idx="39">
                  <c:v>2455</c:v>
                </c:pt>
                <c:pt idx="40">
                  <c:v>1286</c:v>
                </c:pt>
                <c:pt idx="41">
                  <c:v>558</c:v>
                </c:pt>
                <c:pt idx="42">
                  <c:v>1448</c:v>
                </c:pt>
                <c:pt idx="43">
                  <c:v>2332</c:v>
                </c:pt>
                <c:pt idx="44">
                  <c:v>1792</c:v>
                </c:pt>
                <c:pt idx="45">
                  <c:v>1577</c:v>
                </c:pt>
                <c:pt idx="46">
                  <c:v>1532</c:v>
                </c:pt>
                <c:pt idx="47">
                  <c:v>879</c:v>
                </c:pt>
                <c:pt idx="48">
                  <c:v>343</c:v>
                </c:pt>
                <c:pt idx="49">
                  <c:v>1240</c:v>
                </c:pt>
                <c:pt idx="50">
                  <c:v>1691</c:v>
                </c:pt>
                <c:pt idx="51">
                  <c:v>1202</c:v>
                </c:pt>
                <c:pt idx="52">
                  <c:v>1119</c:v>
                </c:pt>
                <c:pt idx="53">
                  <c:v>1196</c:v>
                </c:pt>
                <c:pt idx="54">
                  <c:v>597</c:v>
                </c:pt>
                <c:pt idx="55">
                  <c:v>234</c:v>
                </c:pt>
                <c:pt idx="56">
                  <c:v>970</c:v>
                </c:pt>
                <c:pt idx="57">
                  <c:v>1255</c:v>
                </c:pt>
                <c:pt idx="58">
                  <c:v>892</c:v>
                </c:pt>
                <c:pt idx="59">
                  <c:v>664</c:v>
                </c:pt>
                <c:pt idx="60">
                  <c:v>477</c:v>
                </c:pt>
                <c:pt idx="61">
                  <c:v>309</c:v>
                </c:pt>
                <c:pt idx="62">
                  <c:v>267</c:v>
                </c:pt>
                <c:pt idx="63">
                  <c:v>233</c:v>
                </c:pt>
                <c:pt idx="64">
                  <c:v>750</c:v>
                </c:pt>
                <c:pt idx="65">
                  <c:v>901</c:v>
                </c:pt>
                <c:pt idx="66">
                  <c:v>527</c:v>
                </c:pt>
                <c:pt idx="67">
                  <c:v>507</c:v>
                </c:pt>
                <c:pt idx="68">
                  <c:v>285</c:v>
                </c:pt>
                <c:pt idx="69">
                  <c:v>135</c:v>
                </c:pt>
                <c:pt idx="70">
                  <c:v>439</c:v>
                </c:pt>
                <c:pt idx="71">
                  <c:v>561</c:v>
                </c:pt>
                <c:pt idx="72">
                  <c:v>442</c:v>
                </c:pt>
                <c:pt idx="73">
                  <c:v>360</c:v>
                </c:pt>
                <c:pt idx="74">
                  <c:v>359</c:v>
                </c:pt>
                <c:pt idx="75">
                  <c:v>188</c:v>
                </c:pt>
                <c:pt idx="76">
                  <c:v>91</c:v>
                </c:pt>
                <c:pt idx="77">
                  <c:v>352</c:v>
                </c:pt>
                <c:pt idx="78">
                  <c:v>463</c:v>
                </c:pt>
                <c:pt idx="79">
                  <c:v>271</c:v>
                </c:pt>
                <c:pt idx="80">
                  <c:v>321</c:v>
                </c:pt>
                <c:pt idx="81">
                  <c:v>254</c:v>
                </c:pt>
                <c:pt idx="82">
                  <c:v>187</c:v>
                </c:pt>
                <c:pt idx="83">
                  <c:v>92</c:v>
                </c:pt>
                <c:pt idx="84">
                  <c:v>343</c:v>
                </c:pt>
                <c:pt idx="85">
                  <c:v>328</c:v>
                </c:pt>
                <c:pt idx="86">
                  <c:v>251</c:v>
                </c:pt>
                <c:pt idx="87">
                  <c:v>222</c:v>
                </c:pt>
                <c:pt idx="88">
                  <c:v>239</c:v>
                </c:pt>
                <c:pt idx="89">
                  <c:v>113</c:v>
                </c:pt>
                <c:pt idx="90">
                  <c:v>64</c:v>
                </c:pt>
                <c:pt idx="91">
                  <c:v>279</c:v>
                </c:pt>
                <c:pt idx="92">
                  <c:v>278</c:v>
                </c:pt>
                <c:pt idx="93">
                  <c:v>158</c:v>
                </c:pt>
                <c:pt idx="94">
                  <c:v>167</c:v>
                </c:pt>
                <c:pt idx="95">
                  <c:v>165</c:v>
                </c:pt>
                <c:pt idx="96">
                  <c:v>90</c:v>
                </c:pt>
                <c:pt idx="97">
                  <c:v>32</c:v>
                </c:pt>
                <c:pt idx="98">
                  <c:v>119</c:v>
                </c:pt>
                <c:pt idx="99">
                  <c:v>196</c:v>
                </c:pt>
                <c:pt idx="100">
                  <c:v>130</c:v>
                </c:pt>
                <c:pt idx="101">
                  <c:v>142</c:v>
                </c:pt>
                <c:pt idx="102">
                  <c:v>128</c:v>
                </c:pt>
                <c:pt idx="103">
                  <c:v>67</c:v>
                </c:pt>
                <c:pt idx="104">
                  <c:v>19</c:v>
                </c:pt>
                <c:pt idx="105">
                  <c:v>119</c:v>
                </c:pt>
                <c:pt idx="106">
                  <c:v>121</c:v>
                </c:pt>
                <c:pt idx="107">
                  <c:v>59</c:v>
                </c:pt>
                <c:pt idx="108">
                  <c:v>43</c:v>
                </c:pt>
                <c:pt idx="109">
                  <c:v>66</c:v>
                </c:pt>
                <c:pt idx="110">
                  <c:v>22</c:v>
                </c:pt>
                <c:pt idx="111">
                  <c:v>12</c:v>
                </c:pt>
                <c:pt idx="112">
                  <c:v>80</c:v>
                </c:pt>
                <c:pt idx="113">
                  <c:v>47</c:v>
                </c:pt>
                <c:pt idx="114">
                  <c:v>47</c:v>
                </c:pt>
                <c:pt idx="115">
                  <c:v>48</c:v>
                </c:pt>
                <c:pt idx="116">
                  <c:v>42</c:v>
                </c:pt>
                <c:pt idx="117">
                  <c:v>26</c:v>
                </c:pt>
                <c:pt idx="118">
                  <c:v>13</c:v>
                </c:pt>
                <c:pt idx="119">
                  <c:v>70</c:v>
                </c:pt>
                <c:pt idx="120">
                  <c:v>45</c:v>
                </c:pt>
                <c:pt idx="121">
                  <c:v>38</c:v>
                </c:pt>
                <c:pt idx="122">
                  <c:v>40</c:v>
                </c:pt>
                <c:pt idx="123">
                  <c:v>17</c:v>
                </c:pt>
                <c:pt idx="124">
                  <c:v>17</c:v>
                </c:pt>
                <c:pt idx="125">
                  <c:v>24</c:v>
                </c:pt>
                <c:pt idx="126">
                  <c:v>35</c:v>
                </c:pt>
                <c:pt idx="127">
                  <c:v>46</c:v>
                </c:pt>
                <c:pt idx="128">
                  <c:v>28</c:v>
                </c:pt>
                <c:pt idx="129">
                  <c:v>17</c:v>
                </c:pt>
                <c:pt idx="130">
                  <c:v>14</c:v>
                </c:pt>
                <c:pt idx="131">
                  <c:v>7</c:v>
                </c:pt>
                <c:pt idx="132">
                  <c:v>8</c:v>
                </c:pt>
                <c:pt idx="133">
                  <c:v>26</c:v>
                </c:pt>
                <c:pt idx="134">
                  <c:v>27</c:v>
                </c:pt>
                <c:pt idx="135">
                  <c:v>18</c:v>
                </c:pt>
                <c:pt idx="136">
                  <c:v>25</c:v>
                </c:pt>
                <c:pt idx="137">
                  <c:v>19</c:v>
                </c:pt>
                <c:pt idx="138">
                  <c:v>7</c:v>
                </c:pt>
                <c:pt idx="139">
                  <c:v>10</c:v>
                </c:pt>
                <c:pt idx="140">
                  <c:v>15</c:v>
                </c:pt>
                <c:pt idx="141">
                  <c:v>15</c:v>
                </c:pt>
                <c:pt idx="142">
                  <c:v>11</c:v>
                </c:pt>
                <c:pt idx="143">
                  <c:v>22</c:v>
                </c:pt>
                <c:pt idx="144">
                  <c:v>35</c:v>
                </c:pt>
                <c:pt idx="145">
                  <c:v>9</c:v>
                </c:pt>
                <c:pt idx="146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C$155:$C$322</c:f>
              <c:numCache>
                <c:formatCode>General</c:formatCode>
                <c:ptCount val="16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14A-45E8-87A1-7BD2345ADB4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70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D$155:$D$322</c:f>
              <c:numCache>
                <c:formatCode>General</c:formatCode>
                <c:ptCount val="168"/>
                <c:pt idx="119">
                  <c:v>34</c:v>
                </c:pt>
                <c:pt idx="120">
                  <c:v>32</c:v>
                </c:pt>
                <c:pt idx="121">
                  <c:v>30</c:v>
                </c:pt>
                <c:pt idx="122">
                  <c:v>29</c:v>
                </c:pt>
                <c:pt idx="123">
                  <c:v>27</c:v>
                </c:pt>
                <c:pt idx="124">
                  <c:v>25</c:v>
                </c:pt>
                <c:pt idx="125">
                  <c:v>24</c:v>
                </c:pt>
                <c:pt idx="126">
                  <c:v>23</c:v>
                </c:pt>
                <c:pt idx="127">
                  <c:v>22</c:v>
                </c:pt>
                <c:pt idx="128">
                  <c:v>20</c:v>
                </c:pt>
                <c:pt idx="129">
                  <c:v>19</c:v>
                </c:pt>
                <c:pt idx="130">
                  <c:v>18</c:v>
                </c:pt>
                <c:pt idx="131">
                  <c:v>17</c:v>
                </c:pt>
                <c:pt idx="132">
                  <c:v>16</c:v>
                </c:pt>
                <c:pt idx="133">
                  <c:v>16</c:v>
                </c:pt>
                <c:pt idx="134">
                  <c:v>15</c:v>
                </c:pt>
                <c:pt idx="135">
                  <c:v>14</c:v>
                </c:pt>
                <c:pt idx="136">
                  <c:v>13</c:v>
                </c:pt>
                <c:pt idx="137">
                  <c:v>13</c:v>
                </c:pt>
                <c:pt idx="138">
                  <c:v>12</c:v>
                </c:pt>
                <c:pt idx="139">
                  <c:v>12</c:v>
                </c:pt>
                <c:pt idx="140">
                  <c:v>11</c:v>
                </c:pt>
                <c:pt idx="141">
                  <c:v>10</c:v>
                </c:pt>
                <c:pt idx="142">
                  <c:v>10</c:v>
                </c:pt>
                <c:pt idx="143">
                  <c:v>10</c:v>
                </c:pt>
                <c:pt idx="144">
                  <c:v>9</c:v>
                </c:pt>
                <c:pt idx="145">
                  <c:v>9</c:v>
                </c:pt>
                <c:pt idx="146">
                  <c:v>8</c:v>
                </c:pt>
                <c:pt idx="147">
                  <c:v>8</c:v>
                </c:pt>
                <c:pt idx="148">
                  <c:v>8</c:v>
                </c:pt>
                <c:pt idx="149">
                  <c:v>7</c:v>
                </c:pt>
                <c:pt idx="150">
                  <c:v>7</c:v>
                </c:pt>
                <c:pt idx="151">
                  <c:v>7</c:v>
                </c:pt>
                <c:pt idx="152">
                  <c:v>7</c:v>
                </c:pt>
                <c:pt idx="153">
                  <c:v>6</c:v>
                </c:pt>
                <c:pt idx="154">
                  <c:v>6</c:v>
                </c:pt>
                <c:pt idx="155">
                  <c:v>6</c:v>
                </c:pt>
                <c:pt idx="156">
                  <c:v>6</c:v>
                </c:pt>
                <c:pt idx="157">
                  <c:v>6</c:v>
                </c:pt>
                <c:pt idx="158">
                  <c:v>5</c:v>
                </c:pt>
                <c:pt idx="159">
                  <c:v>5</c:v>
                </c:pt>
                <c:pt idx="160">
                  <c:v>5</c:v>
                </c:pt>
                <c:pt idx="161">
                  <c:v>5</c:v>
                </c:pt>
                <c:pt idx="162">
                  <c:v>5</c:v>
                </c:pt>
                <c:pt idx="163">
                  <c:v>5</c:v>
                </c:pt>
                <c:pt idx="164">
                  <c:v>5</c:v>
                </c:pt>
                <c:pt idx="165">
                  <c:v>5</c:v>
                </c:pt>
                <c:pt idx="166">
                  <c:v>4</c:v>
                </c:pt>
                <c:pt idx="167">
                  <c:v>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14A-45E8-87A1-7BD2345ADB46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0,90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F$155:$F$322</c:f>
              <c:numCache>
                <c:formatCode>General</c:formatCode>
                <c:ptCount val="168"/>
                <c:pt idx="119">
                  <c:v>34</c:v>
                </c:pt>
                <c:pt idx="120">
                  <c:v>36</c:v>
                </c:pt>
                <c:pt idx="121">
                  <c:v>36</c:v>
                </c:pt>
                <c:pt idx="122">
                  <c:v>35</c:v>
                </c:pt>
                <c:pt idx="123">
                  <c:v>33</c:v>
                </c:pt>
                <c:pt idx="124">
                  <c:v>33</c:v>
                </c:pt>
                <c:pt idx="125">
                  <c:v>32</c:v>
                </c:pt>
                <c:pt idx="126">
                  <c:v>32</c:v>
                </c:pt>
                <c:pt idx="127">
                  <c:v>32</c:v>
                </c:pt>
                <c:pt idx="128">
                  <c:v>31</c:v>
                </c:pt>
                <c:pt idx="129">
                  <c:v>31</c:v>
                </c:pt>
                <c:pt idx="130">
                  <c:v>30</c:v>
                </c:pt>
                <c:pt idx="131">
                  <c:v>30</c:v>
                </c:pt>
                <c:pt idx="132">
                  <c:v>30</c:v>
                </c:pt>
                <c:pt idx="133">
                  <c:v>29</c:v>
                </c:pt>
                <c:pt idx="134">
                  <c:v>29</c:v>
                </c:pt>
                <c:pt idx="135">
                  <c:v>28</c:v>
                </c:pt>
                <c:pt idx="136">
                  <c:v>28</c:v>
                </c:pt>
                <c:pt idx="137">
                  <c:v>28</c:v>
                </c:pt>
                <c:pt idx="138">
                  <c:v>27</c:v>
                </c:pt>
                <c:pt idx="139">
                  <c:v>27</c:v>
                </c:pt>
                <c:pt idx="140">
                  <c:v>27</c:v>
                </c:pt>
                <c:pt idx="141">
                  <c:v>26</c:v>
                </c:pt>
                <c:pt idx="142">
                  <c:v>26</c:v>
                </c:pt>
                <c:pt idx="143">
                  <c:v>26</c:v>
                </c:pt>
                <c:pt idx="144">
                  <c:v>25</c:v>
                </c:pt>
                <c:pt idx="145">
                  <c:v>25</c:v>
                </c:pt>
                <c:pt idx="146">
                  <c:v>25</c:v>
                </c:pt>
                <c:pt idx="147">
                  <c:v>24</c:v>
                </c:pt>
                <c:pt idx="148">
                  <c:v>24</c:v>
                </c:pt>
                <c:pt idx="149">
                  <c:v>24</c:v>
                </c:pt>
                <c:pt idx="150">
                  <c:v>23</c:v>
                </c:pt>
                <c:pt idx="151">
                  <c:v>23</c:v>
                </c:pt>
                <c:pt idx="152">
                  <c:v>23</c:v>
                </c:pt>
                <c:pt idx="153">
                  <c:v>23</c:v>
                </c:pt>
                <c:pt idx="154">
                  <c:v>22</c:v>
                </c:pt>
                <c:pt idx="155">
                  <c:v>22</c:v>
                </c:pt>
                <c:pt idx="156">
                  <c:v>22</c:v>
                </c:pt>
                <c:pt idx="157">
                  <c:v>22</c:v>
                </c:pt>
                <c:pt idx="158">
                  <c:v>21</c:v>
                </c:pt>
                <c:pt idx="159">
                  <c:v>21</c:v>
                </c:pt>
                <c:pt idx="160">
                  <c:v>21</c:v>
                </c:pt>
                <c:pt idx="161">
                  <c:v>21</c:v>
                </c:pt>
                <c:pt idx="162">
                  <c:v>20</c:v>
                </c:pt>
                <c:pt idx="163">
                  <c:v>20</c:v>
                </c:pt>
                <c:pt idx="164">
                  <c:v>20</c:v>
                </c:pt>
                <c:pt idx="165">
                  <c:v>20</c:v>
                </c:pt>
                <c:pt idx="166">
                  <c:v>20</c:v>
                </c:pt>
                <c:pt idx="167">
                  <c:v>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14A-45E8-87A1-7BD2345ADB46}"/>
            </c:ext>
          </c:extLst>
        </c:ser>
        <c:ser>
          <c:idx val="5"/>
          <c:order val="4"/>
          <c:tx>
            <c:strRef>
              <c:f>Sheet1!$G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G$155:$G$322</c:f>
              <c:numCache>
                <c:formatCode>General</c:formatCode>
                <c:ptCount val="168"/>
                <c:pt idx="119">
                  <c:v>34</c:v>
                </c:pt>
                <c:pt idx="120">
                  <c:v>39</c:v>
                </c:pt>
                <c:pt idx="121">
                  <c:v>41</c:v>
                </c:pt>
                <c:pt idx="122">
                  <c:v>41</c:v>
                </c:pt>
                <c:pt idx="123">
                  <c:v>40</c:v>
                </c:pt>
                <c:pt idx="124">
                  <c:v>40</c:v>
                </c:pt>
                <c:pt idx="125">
                  <c:v>41</c:v>
                </c:pt>
                <c:pt idx="126">
                  <c:v>43</c:v>
                </c:pt>
                <c:pt idx="127">
                  <c:v>45</c:v>
                </c:pt>
                <c:pt idx="128">
                  <c:v>45</c:v>
                </c:pt>
                <c:pt idx="129">
                  <c:v>45</c:v>
                </c:pt>
                <c:pt idx="130">
                  <c:v>46</c:v>
                </c:pt>
                <c:pt idx="131">
                  <c:v>47</c:v>
                </c:pt>
                <c:pt idx="132">
                  <c:v>49</c:v>
                </c:pt>
                <c:pt idx="133">
                  <c:v>50</c:v>
                </c:pt>
                <c:pt idx="134">
                  <c:v>51</c:v>
                </c:pt>
                <c:pt idx="135">
                  <c:v>51</c:v>
                </c:pt>
                <c:pt idx="136">
                  <c:v>52</c:v>
                </c:pt>
                <c:pt idx="137">
                  <c:v>54</c:v>
                </c:pt>
                <c:pt idx="138">
                  <c:v>55</c:v>
                </c:pt>
                <c:pt idx="139">
                  <c:v>56</c:v>
                </c:pt>
                <c:pt idx="140">
                  <c:v>57</c:v>
                </c:pt>
                <c:pt idx="141">
                  <c:v>58</c:v>
                </c:pt>
                <c:pt idx="142">
                  <c:v>59</c:v>
                </c:pt>
                <c:pt idx="143">
                  <c:v>61</c:v>
                </c:pt>
                <c:pt idx="144">
                  <c:v>62</c:v>
                </c:pt>
                <c:pt idx="145">
                  <c:v>63</c:v>
                </c:pt>
                <c:pt idx="146">
                  <c:v>64</c:v>
                </c:pt>
                <c:pt idx="147">
                  <c:v>66</c:v>
                </c:pt>
                <c:pt idx="148">
                  <c:v>67</c:v>
                </c:pt>
                <c:pt idx="149">
                  <c:v>68</c:v>
                </c:pt>
                <c:pt idx="150">
                  <c:v>69</c:v>
                </c:pt>
                <c:pt idx="151">
                  <c:v>71</c:v>
                </c:pt>
                <c:pt idx="152">
                  <c:v>72</c:v>
                </c:pt>
                <c:pt idx="153">
                  <c:v>74</c:v>
                </c:pt>
                <c:pt idx="154">
                  <c:v>75</c:v>
                </c:pt>
                <c:pt idx="155">
                  <c:v>77</c:v>
                </c:pt>
                <c:pt idx="156">
                  <c:v>78</c:v>
                </c:pt>
                <c:pt idx="157">
                  <c:v>80</c:v>
                </c:pt>
                <c:pt idx="158">
                  <c:v>81</c:v>
                </c:pt>
                <c:pt idx="159">
                  <c:v>83</c:v>
                </c:pt>
                <c:pt idx="160">
                  <c:v>84</c:v>
                </c:pt>
                <c:pt idx="161">
                  <c:v>86</c:v>
                </c:pt>
                <c:pt idx="162">
                  <c:v>88</c:v>
                </c:pt>
                <c:pt idx="163">
                  <c:v>89</c:v>
                </c:pt>
                <c:pt idx="164">
                  <c:v>91</c:v>
                </c:pt>
                <c:pt idx="165">
                  <c:v>93</c:v>
                </c:pt>
                <c:pt idx="166">
                  <c:v>95</c:v>
                </c:pt>
                <c:pt idx="167">
                  <c:v>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31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3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5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H$2:$H$169</c:f>
              <c:numCache>
                <c:formatCode>0</c:formatCode>
                <c:ptCount val="168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  <c:pt idx="126">
                  <c:v>100</c:v>
                </c:pt>
                <c:pt idx="127">
                  <c:v>100</c:v>
                </c:pt>
                <c:pt idx="128">
                  <c:v>100</c:v>
                </c:pt>
                <c:pt idx="129">
                  <c:v>100</c:v>
                </c:pt>
                <c:pt idx="130">
                  <c:v>100</c:v>
                </c:pt>
                <c:pt idx="131">
                  <c:v>100</c:v>
                </c:pt>
                <c:pt idx="132">
                  <c:v>100</c:v>
                </c:pt>
                <c:pt idx="133">
                  <c:v>100</c:v>
                </c:pt>
                <c:pt idx="134">
                  <c:v>100</c:v>
                </c:pt>
                <c:pt idx="135">
                  <c:v>100</c:v>
                </c:pt>
                <c:pt idx="136">
                  <c:v>100</c:v>
                </c:pt>
                <c:pt idx="137">
                  <c:v>100</c:v>
                </c:pt>
                <c:pt idx="138">
                  <c:v>100</c:v>
                </c:pt>
                <c:pt idx="139">
                  <c:v>100</c:v>
                </c:pt>
                <c:pt idx="140">
                  <c:v>100</c:v>
                </c:pt>
                <c:pt idx="141">
                  <c:v>100</c:v>
                </c:pt>
                <c:pt idx="142">
                  <c:v>100</c:v>
                </c:pt>
                <c:pt idx="143">
                  <c:v>100</c:v>
                </c:pt>
                <c:pt idx="144">
                  <c:v>100</c:v>
                </c:pt>
                <c:pt idx="145">
                  <c:v>100</c:v>
                </c:pt>
                <c:pt idx="146">
                  <c:v>100</c:v>
                </c:pt>
                <c:pt idx="147">
                  <c:v>100</c:v>
                </c:pt>
                <c:pt idx="148">
                  <c:v>100</c:v>
                </c:pt>
                <c:pt idx="149">
                  <c:v>100</c:v>
                </c:pt>
                <c:pt idx="150">
                  <c:v>100</c:v>
                </c:pt>
                <c:pt idx="151">
                  <c:v>100</c:v>
                </c:pt>
                <c:pt idx="152">
                  <c:v>100</c:v>
                </c:pt>
                <c:pt idx="153">
                  <c:v>100</c:v>
                </c:pt>
                <c:pt idx="154">
                  <c:v>100</c:v>
                </c:pt>
                <c:pt idx="155">
                  <c:v>100</c:v>
                </c:pt>
                <c:pt idx="156">
                  <c:v>100</c:v>
                </c:pt>
                <c:pt idx="157">
                  <c:v>100</c:v>
                </c:pt>
                <c:pt idx="158">
                  <c:v>100</c:v>
                </c:pt>
                <c:pt idx="159">
                  <c:v>100</c:v>
                </c:pt>
                <c:pt idx="160">
                  <c:v>100</c:v>
                </c:pt>
                <c:pt idx="161">
                  <c:v>100</c:v>
                </c:pt>
                <c:pt idx="162">
                  <c:v>100</c:v>
                </c:pt>
                <c:pt idx="163">
                  <c:v>100</c:v>
                </c:pt>
                <c:pt idx="164">
                  <c:v>100</c:v>
                </c:pt>
                <c:pt idx="165">
                  <c:v>100</c:v>
                </c:pt>
                <c:pt idx="166">
                  <c:v>100</c:v>
                </c:pt>
                <c:pt idx="167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EF5-483F-B422-4E0629062509}"/>
            </c:ext>
          </c:extLst>
        </c:ser>
        <c:ser>
          <c:idx val="7"/>
          <c:order val="6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rgbClr val="C2FFDF"/>
            </a:solidFill>
            <a:ln>
              <a:noFill/>
            </a:ln>
            <a:effectLst/>
          </c:spP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I$2:$I$169</c:f>
              <c:numCache>
                <c:formatCode>0</c:formatCode>
                <c:ptCount val="168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  <c:pt idx="79">
                  <c:v>50</c:v>
                </c:pt>
                <c:pt idx="80">
                  <c:v>50</c:v>
                </c:pt>
                <c:pt idx="81">
                  <c:v>50</c:v>
                </c:pt>
                <c:pt idx="82">
                  <c:v>50</c:v>
                </c:pt>
                <c:pt idx="83">
                  <c:v>50</c:v>
                </c:pt>
                <c:pt idx="84">
                  <c:v>50</c:v>
                </c:pt>
                <c:pt idx="85">
                  <c:v>50</c:v>
                </c:pt>
                <c:pt idx="86">
                  <c:v>50</c:v>
                </c:pt>
                <c:pt idx="87">
                  <c:v>50</c:v>
                </c:pt>
                <c:pt idx="88">
                  <c:v>50</c:v>
                </c:pt>
                <c:pt idx="89">
                  <c:v>50</c:v>
                </c:pt>
                <c:pt idx="90">
                  <c:v>50</c:v>
                </c:pt>
                <c:pt idx="91">
                  <c:v>50</c:v>
                </c:pt>
                <c:pt idx="92">
                  <c:v>50</c:v>
                </c:pt>
                <c:pt idx="93">
                  <c:v>50</c:v>
                </c:pt>
                <c:pt idx="94">
                  <c:v>50</c:v>
                </c:pt>
                <c:pt idx="95">
                  <c:v>50</c:v>
                </c:pt>
                <c:pt idx="96">
                  <c:v>50</c:v>
                </c:pt>
                <c:pt idx="97">
                  <c:v>50</c:v>
                </c:pt>
                <c:pt idx="98">
                  <c:v>50</c:v>
                </c:pt>
                <c:pt idx="99">
                  <c:v>50</c:v>
                </c:pt>
                <c:pt idx="100">
                  <c:v>50</c:v>
                </c:pt>
                <c:pt idx="101">
                  <c:v>50</c:v>
                </c:pt>
                <c:pt idx="102">
                  <c:v>50</c:v>
                </c:pt>
                <c:pt idx="103">
                  <c:v>50</c:v>
                </c:pt>
                <c:pt idx="104">
                  <c:v>50</c:v>
                </c:pt>
                <c:pt idx="105">
                  <c:v>50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  <c:pt idx="110">
                  <c:v>50</c:v>
                </c:pt>
                <c:pt idx="111">
                  <c:v>50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0</c:v>
                </c:pt>
                <c:pt idx="122">
                  <c:v>50</c:v>
                </c:pt>
                <c:pt idx="123">
                  <c:v>50</c:v>
                </c:pt>
                <c:pt idx="124">
                  <c:v>50</c:v>
                </c:pt>
                <c:pt idx="125">
                  <c:v>50</c:v>
                </c:pt>
                <c:pt idx="126">
                  <c:v>50</c:v>
                </c:pt>
                <c:pt idx="127">
                  <c:v>50</c:v>
                </c:pt>
                <c:pt idx="128">
                  <c:v>50</c:v>
                </c:pt>
                <c:pt idx="129">
                  <c:v>50</c:v>
                </c:pt>
                <c:pt idx="130">
                  <c:v>50</c:v>
                </c:pt>
                <c:pt idx="131">
                  <c:v>50</c:v>
                </c:pt>
                <c:pt idx="132">
                  <c:v>50</c:v>
                </c:pt>
                <c:pt idx="133">
                  <c:v>50</c:v>
                </c:pt>
                <c:pt idx="134">
                  <c:v>50</c:v>
                </c:pt>
                <c:pt idx="135">
                  <c:v>50</c:v>
                </c:pt>
                <c:pt idx="136">
                  <c:v>50</c:v>
                </c:pt>
                <c:pt idx="137">
                  <c:v>50</c:v>
                </c:pt>
                <c:pt idx="138">
                  <c:v>50</c:v>
                </c:pt>
                <c:pt idx="139">
                  <c:v>50</c:v>
                </c:pt>
                <c:pt idx="140">
                  <c:v>50</c:v>
                </c:pt>
                <c:pt idx="141">
                  <c:v>50</c:v>
                </c:pt>
                <c:pt idx="142">
                  <c:v>50</c:v>
                </c:pt>
                <c:pt idx="143">
                  <c:v>50</c:v>
                </c:pt>
                <c:pt idx="144">
                  <c:v>50</c:v>
                </c:pt>
                <c:pt idx="145">
                  <c:v>50</c:v>
                </c:pt>
                <c:pt idx="146">
                  <c:v>50</c:v>
                </c:pt>
                <c:pt idx="147">
                  <c:v>50</c:v>
                </c:pt>
                <c:pt idx="148">
                  <c:v>50</c:v>
                </c:pt>
                <c:pt idx="149">
                  <c:v>50</c:v>
                </c:pt>
                <c:pt idx="150">
                  <c:v>50</c:v>
                </c:pt>
                <c:pt idx="151">
                  <c:v>50</c:v>
                </c:pt>
                <c:pt idx="152">
                  <c:v>50</c:v>
                </c:pt>
                <c:pt idx="153">
                  <c:v>50</c:v>
                </c:pt>
                <c:pt idx="154">
                  <c:v>50</c:v>
                </c:pt>
                <c:pt idx="155">
                  <c:v>50</c:v>
                </c:pt>
                <c:pt idx="156">
                  <c:v>50</c:v>
                </c:pt>
                <c:pt idx="157">
                  <c:v>50</c:v>
                </c:pt>
                <c:pt idx="158">
                  <c:v>50</c:v>
                </c:pt>
                <c:pt idx="159">
                  <c:v>50</c:v>
                </c:pt>
                <c:pt idx="160">
                  <c:v>50</c:v>
                </c:pt>
                <c:pt idx="161">
                  <c:v>50</c:v>
                </c:pt>
                <c:pt idx="162">
                  <c:v>50</c:v>
                </c:pt>
                <c:pt idx="163">
                  <c:v>50</c:v>
                </c:pt>
                <c:pt idx="164">
                  <c:v>50</c:v>
                </c:pt>
                <c:pt idx="165">
                  <c:v>50</c:v>
                </c:pt>
                <c:pt idx="166">
                  <c:v>50</c:v>
                </c:pt>
                <c:pt idx="167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EF5-483F-B422-4E06290625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B$2:$B$169</c:f>
              <c:numCache>
                <c:formatCode>0</c:formatCode>
                <c:ptCount val="168"/>
                <c:pt idx="0">
                  <c:v>447.85503831553291</c:v>
                </c:pt>
                <c:pt idx="1">
                  <c:v>463.44877707176767</c:v>
                </c:pt>
                <c:pt idx="2">
                  <c:v>473.17698106648299</c:v>
                </c:pt>
                <c:pt idx="3">
                  <c:v>490.41593079241227</c:v>
                </c:pt>
                <c:pt idx="4">
                  <c:v>510.22999334047211</c:v>
                </c:pt>
                <c:pt idx="5">
                  <c:v>529.1141540360959</c:v>
                </c:pt>
                <c:pt idx="6">
                  <c:v>531.11701956441971</c:v>
                </c:pt>
                <c:pt idx="7">
                  <c:v>543.27727455781383</c:v>
                </c:pt>
                <c:pt idx="8">
                  <c:v>541.27440902949002</c:v>
                </c:pt>
                <c:pt idx="9">
                  <c:v>557.44039507953164</c:v>
                </c:pt>
                <c:pt idx="10">
                  <c:v>569.09993369084486</c:v>
                </c:pt>
                <c:pt idx="11">
                  <c:v>562.44755890034094</c:v>
                </c:pt>
                <c:pt idx="12">
                  <c:v>575.68077756962282</c:v>
                </c:pt>
                <c:pt idx="13">
                  <c:v>582.47621418357835</c:v>
                </c:pt>
                <c:pt idx="14">
                  <c:v>591.34604723758355</c:v>
                </c:pt>
                <c:pt idx="15">
                  <c:v>632.19019783304259</c:v>
                </c:pt>
                <c:pt idx="16">
                  <c:v>652.00426038110243</c:v>
                </c:pt>
                <c:pt idx="17">
                  <c:v>688.55655627301064</c:v>
                </c:pt>
                <c:pt idx="18">
                  <c:v>743.77842012536507</c:v>
                </c:pt>
                <c:pt idx="19">
                  <c:v>764.88003908449014</c:v>
                </c:pt>
                <c:pt idx="20">
                  <c:v>785.40941074980844</c:v>
                </c:pt>
                <c:pt idx="21">
                  <c:v>816.52535735055233</c:v>
                </c:pt>
                <c:pt idx="22">
                  <c:v>857.94175523981812</c:v>
                </c:pt>
                <c:pt idx="23">
                  <c:v>884.90890896046267</c:v>
                </c:pt>
                <c:pt idx="24">
                  <c:v>922.82029217516208</c:v>
                </c:pt>
                <c:pt idx="25">
                  <c:v>951.28959504204943</c:v>
                </c:pt>
                <c:pt idx="26">
                  <c:v>973.67877041223983</c:v>
                </c:pt>
                <c:pt idx="27">
                  <c:v>982.76319620142249</c:v>
                </c:pt>
                <c:pt idx="28">
                  <c:v>992.13374563750858</c:v>
                </c:pt>
                <c:pt idx="29">
                  <c:v>1014.6659828311505</c:v>
                </c:pt>
                <c:pt idx="30">
                  <c:v>1032.405648939161</c:v>
                </c:pt>
                <c:pt idx="31">
                  <c:v>1047.7847949602181</c:v>
                </c:pt>
                <c:pt idx="32">
                  <c:v>1032.262587115709</c:v>
                </c:pt>
                <c:pt idx="33">
                  <c:v>1045.8534603436203</c:v>
                </c:pt>
                <c:pt idx="34">
                  <c:v>1039.2010855531164</c:v>
                </c:pt>
                <c:pt idx="35">
                  <c:v>1013.0207718614561</c:v>
                </c:pt>
                <c:pt idx="36">
                  <c:v>993.85048751892884</c:v>
                </c:pt>
                <c:pt idx="37">
                  <c:v>988.4141382277644</c:v>
                </c:pt>
                <c:pt idx="38">
                  <c:v>923.32100855724298</c:v>
                </c:pt>
                <c:pt idx="39">
                  <c:v>944.35109660464218</c:v>
                </c:pt>
                <c:pt idx="40">
                  <c:v>910.2308517114127</c:v>
                </c:pt>
                <c:pt idx="41">
                  <c:v>899.85886951116493</c:v>
                </c:pt>
                <c:pt idx="42">
                  <c:v>891.77587648614406</c:v>
                </c:pt>
                <c:pt idx="43">
                  <c:v>869.52976293940537</c:v>
                </c:pt>
                <c:pt idx="44">
                  <c:v>827.82724140323614</c:v>
                </c:pt>
                <c:pt idx="45">
                  <c:v>818.8858774375052</c:v>
                </c:pt>
                <c:pt idx="46">
                  <c:v>752.86284591454773</c:v>
                </c:pt>
                <c:pt idx="47">
                  <c:v>723.74976484212766</c:v>
                </c:pt>
                <c:pt idx="48">
                  <c:v>708.37061882107048</c:v>
                </c:pt>
                <c:pt idx="49">
                  <c:v>693.49218918209408</c:v>
                </c:pt>
                <c:pt idx="50">
                  <c:v>647.64087476582563</c:v>
                </c:pt>
                <c:pt idx="51">
                  <c:v>605.4376368475755</c:v>
                </c:pt>
                <c:pt idx="52">
                  <c:v>572.67647927713722</c:v>
                </c:pt>
                <c:pt idx="53">
                  <c:v>548.64209293725241</c:v>
                </c:pt>
                <c:pt idx="54">
                  <c:v>528.47037583056328</c:v>
                </c:pt>
                <c:pt idx="55">
                  <c:v>520.67350645244596</c:v>
                </c:pt>
                <c:pt idx="56">
                  <c:v>501.36016028646702</c:v>
                </c:pt>
                <c:pt idx="57">
                  <c:v>470.17268277399734</c:v>
                </c:pt>
                <c:pt idx="58">
                  <c:v>447.99810013898457</c:v>
                </c:pt>
                <c:pt idx="59">
                  <c:v>415.45153530372386</c:v>
                </c:pt>
                <c:pt idx="60">
                  <c:v>364.0208097728393</c:v>
                </c:pt>
                <c:pt idx="61">
                  <c:v>343.41990719579513</c:v>
                </c:pt>
                <c:pt idx="62">
                  <c:v>345.78042728274812</c:v>
                </c:pt>
                <c:pt idx="63">
                  <c:v>293.06214534079828</c:v>
                </c:pt>
                <c:pt idx="64">
                  <c:v>256.93903491924516</c:v>
                </c:pt>
                <c:pt idx="65">
                  <c:v>257.58281312477777</c:v>
                </c:pt>
                <c:pt idx="66">
                  <c:v>247.78307821833667</c:v>
                </c:pt>
                <c:pt idx="67">
                  <c:v>249.92900557011211</c:v>
                </c:pt>
                <c:pt idx="68">
                  <c:v>248.21226368869176</c:v>
                </c:pt>
                <c:pt idx="69">
                  <c:v>238.77018334087984</c:v>
                </c:pt>
                <c:pt idx="70">
                  <c:v>253.50555115640447</c:v>
                </c:pt>
                <c:pt idx="71">
                  <c:v>239.98620884021926</c:v>
                </c:pt>
                <c:pt idx="72">
                  <c:v>207.15352035805515</c:v>
                </c:pt>
                <c:pt idx="73">
                  <c:v>195.20785809983855</c:v>
                </c:pt>
                <c:pt idx="74">
                  <c:v>184.62128316441309</c:v>
                </c:pt>
                <c:pt idx="75">
                  <c:v>177.68278472700584</c:v>
                </c:pt>
                <c:pt idx="76">
                  <c:v>174.53542461106855</c:v>
                </c:pt>
                <c:pt idx="77">
                  <c:v>168.3122352909198</c:v>
                </c:pt>
                <c:pt idx="78">
                  <c:v>161.3022059417867</c:v>
                </c:pt>
                <c:pt idx="79">
                  <c:v>149.07042003666675</c:v>
                </c:pt>
                <c:pt idx="80">
                  <c:v>146.28071447935869</c:v>
                </c:pt>
                <c:pt idx="81">
                  <c:v>138.76996874814466</c:v>
                </c:pt>
                <c:pt idx="82">
                  <c:v>138.69843783641883</c:v>
                </c:pt>
                <c:pt idx="83">
                  <c:v>138.76996874814466</c:v>
                </c:pt>
                <c:pt idx="84">
                  <c:v>138.12619054261202</c:v>
                </c:pt>
                <c:pt idx="85">
                  <c:v>128.46951745962258</c:v>
                </c:pt>
                <c:pt idx="86">
                  <c:v>127.03889922510564</c:v>
                </c:pt>
                <c:pt idx="87">
                  <c:v>119.95733896424669</c:v>
                </c:pt>
                <c:pt idx="88">
                  <c:v>118.88437528835898</c:v>
                </c:pt>
                <c:pt idx="89">
                  <c:v>113.59108782064627</c:v>
                </c:pt>
                <c:pt idx="90">
                  <c:v>111.58822229232251</c:v>
                </c:pt>
                <c:pt idx="91">
                  <c:v>107.01024394186825</c:v>
                </c:pt>
                <c:pt idx="92">
                  <c:v>103.43369835557586</c:v>
                </c:pt>
                <c:pt idx="93">
                  <c:v>96.781323565072029</c:v>
                </c:pt>
                <c:pt idx="94">
                  <c:v>92.84712342015041</c:v>
                </c:pt>
                <c:pt idx="95">
                  <c:v>87.553835952437666</c:v>
                </c:pt>
                <c:pt idx="96">
                  <c:v>85.908624982743163</c:v>
                </c:pt>
                <c:pt idx="97">
                  <c:v>83.619635807516048</c:v>
                </c:pt>
                <c:pt idx="98">
                  <c:v>72.174689931380399</c:v>
                </c:pt>
                <c:pt idx="99">
                  <c:v>66.309155169860873</c:v>
                </c:pt>
                <c:pt idx="100">
                  <c:v>64.306289641537148</c:v>
                </c:pt>
                <c:pt idx="101">
                  <c:v>62.51801684839095</c:v>
                </c:pt>
                <c:pt idx="102">
                  <c:v>59.871373114534585</c:v>
                </c:pt>
                <c:pt idx="103">
                  <c:v>58.226162144840082</c:v>
                </c:pt>
                <c:pt idx="104">
                  <c:v>57.296260292404064</c:v>
                </c:pt>
                <c:pt idx="105">
                  <c:v>57.296260292404064</c:v>
                </c:pt>
                <c:pt idx="106">
                  <c:v>51.931441912965482</c:v>
                </c:pt>
                <c:pt idx="107">
                  <c:v>46.852747180430285</c:v>
                </c:pt>
                <c:pt idx="108">
                  <c:v>39.771186919571356</c:v>
                </c:pt>
                <c:pt idx="109">
                  <c:v>35.336270392568792</c:v>
                </c:pt>
                <c:pt idx="110">
                  <c:v>32.117379364905645</c:v>
                </c:pt>
                <c:pt idx="111">
                  <c:v>31.61666298282471</c:v>
                </c:pt>
                <c:pt idx="112">
                  <c:v>28.82695742551665</c:v>
                </c:pt>
                <c:pt idx="113">
                  <c:v>23.533669957803916</c:v>
                </c:pt>
                <c:pt idx="114">
                  <c:v>22.675299017093742</c:v>
                </c:pt>
                <c:pt idx="115">
                  <c:v>23.032953575722981</c:v>
                </c:pt>
                <c:pt idx="116">
                  <c:v>21.316211694302634</c:v>
                </c:pt>
                <c:pt idx="117">
                  <c:v>21.602335341206025</c:v>
                </c:pt>
                <c:pt idx="118">
                  <c:v>21.673866252931873</c:v>
                </c:pt>
                <c:pt idx="119">
                  <c:v>20.958557135673395</c:v>
                </c:pt>
                <c:pt idx="120">
                  <c:v>20.815495312221699</c:v>
                </c:pt>
                <c:pt idx="121">
                  <c:v>20.171717106689069</c:v>
                </c:pt>
                <c:pt idx="122">
                  <c:v>19.599469812882287</c:v>
                </c:pt>
                <c:pt idx="123">
                  <c:v>17.811197019736092</c:v>
                </c:pt>
                <c:pt idx="124">
                  <c:v>17.167418814203465</c:v>
                </c:pt>
                <c:pt idx="125">
                  <c:v>17.954258843187787</c:v>
                </c:pt>
                <c:pt idx="126">
                  <c:v>15.450676932783118</c:v>
                </c:pt>
                <c:pt idx="127">
                  <c:v>15.522207844508964</c:v>
                </c:pt>
                <c:pt idx="128">
                  <c:v>14.806898727250488</c:v>
                </c:pt>
                <c:pt idx="129">
                  <c:v>13.161687757555988</c:v>
                </c:pt>
                <c:pt idx="130">
                  <c:v>12.947095022378447</c:v>
                </c:pt>
                <c:pt idx="131">
                  <c:v>12.231785905119969</c:v>
                </c:pt>
                <c:pt idx="132">
                  <c:v>11.087291317506404</c:v>
                </c:pt>
                <c:pt idx="133">
                  <c:v>10.443513111973774</c:v>
                </c:pt>
                <c:pt idx="134">
                  <c:v>9.0844257891826672</c:v>
                </c:pt>
                <c:pt idx="135">
                  <c:v>8.3691166719241874</c:v>
                </c:pt>
                <c:pt idx="136">
                  <c:v>8.9413639657309716</c:v>
                </c:pt>
                <c:pt idx="137">
                  <c:v>9.2990185243602088</c:v>
                </c:pt>
                <c:pt idx="138">
                  <c:v>9.2990185243602088</c:v>
                </c:pt>
                <c:pt idx="139">
                  <c:v>9.4420803478119044</c:v>
                </c:pt>
                <c:pt idx="140">
                  <c:v>8.6552403188275804</c:v>
                </c:pt>
                <c:pt idx="141">
                  <c:v>7.7968693781174068</c:v>
                </c:pt>
                <c:pt idx="142">
                  <c:v>7.2961529960364722</c:v>
                </c:pt>
                <c:pt idx="143">
                  <c:v>7.0815602608589296</c:v>
                </c:pt>
                <c:pt idx="144">
                  <c:v>8.2260548484724918</c:v>
                </c:pt>
                <c:pt idx="145">
                  <c:v>8.3691166719241874</c:v>
                </c:pt>
                <c:pt idx="146">
                  <c:v>8.0829930250207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C$2:$C$169</c:f>
              <c:numCache>
                <c:formatCode>General</c:formatCode>
                <c:ptCount val="16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14A-45E8-87A1-7BD2345ADB4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75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D$2:$D$169</c:f>
              <c:numCache>
                <c:formatCode>General</c:formatCode>
                <c:ptCount val="168"/>
                <c:pt idx="119">
                  <c:v>20.958557135673395</c:v>
                </c:pt>
                <c:pt idx="120">
                  <c:v>19.599469812882287</c:v>
                </c:pt>
                <c:pt idx="121">
                  <c:v>18.31191340181703</c:v>
                </c:pt>
                <c:pt idx="122">
                  <c:v>17.238949725929313</c:v>
                </c:pt>
                <c:pt idx="123">
                  <c:v>16.237516961767444</c:v>
                </c:pt>
                <c:pt idx="124">
                  <c:v>15.236084197605576</c:v>
                </c:pt>
                <c:pt idx="125">
                  <c:v>14.377713256895401</c:v>
                </c:pt>
                <c:pt idx="126">
                  <c:v>13.590873227911077</c:v>
                </c:pt>
                <c:pt idx="127">
                  <c:v>12.875564110652597</c:v>
                </c:pt>
                <c:pt idx="128">
                  <c:v>12.160254993394121</c:v>
                </c:pt>
                <c:pt idx="129">
                  <c:v>11.444945876135643</c:v>
                </c:pt>
                <c:pt idx="130">
                  <c:v>10.801167670603013</c:v>
                </c:pt>
                <c:pt idx="131">
                  <c:v>10.22892037679623</c:v>
                </c:pt>
                <c:pt idx="132">
                  <c:v>9.6566730829894478</c:v>
                </c:pt>
                <c:pt idx="133">
                  <c:v>9.155956700908515</c:v>
                </c:pt>
                <c:pt idx="134">
                  <c:v>8.6552403188275804</c:v>
                </c:pt>
                <c:pt idx="135">
                  <c:v>8.2260548484724918</c:v>
                </c:pt>
                <c:pt idx="136">
                  <c:v>7.7968693781174068</c:v>
                </c:pt>
                <c:pt idx="137">
                  <c:v>7.4392148194881678</c:v>
                </c:pt>
                <c:pt idx="138">
                  <c:v>7.0815602608589296</c:v>
                </c:pt>
                <c:pt idx="139">
                  <c:v>6.7954366139555384</c:v>
                </c:pt>
                <c:pt idx="140">
                  <c:v>6.4377820553262985</c:v>
                </c:pt>
                <c:pt idx="141">
                  <c:v>6.0801274966970604</c:v>
                </c:pt>
                <c:pt idx="142">
                  <c:v>5.7940038497936692</c:v>
                </c:pt>
                <c:pt idx="143">
                  <c:v>5.5794111146161258</c:v>
                </c:pt>
                <c:pt idx="144">
                  <c:v>5.2932874677127346</c:v>
                </c:pt>
                <c:pt idx="145">
                  <c:v>5.0786947325351912</c:v>
                </c:pt>
                <c:pt idx="146">
                  <c:v>4.7925710856318</c:v>
                </c:pt>
                <c:pt idx="147">
                  <c:v>4.5779783504542575</c:v>
                </c:pt>
                <c:pt idx="148">
                  <c:v>4.4349165270025619</c:v>
                </c:pt>
                <c:pt idx="149">
                  <c:v>4.2203237918250176</c:v>
                </c:pt>
                <c:pt idx="150">
                  <c:v>4.0057310566474751</c:v>
                </c:pt>
                <c:pt idx="151">
                  <c:v>3.8626692331957795</c:v>
                </c:pt>
                <c:pt idx="152">
                  <c:v>3.7196074097440839</c:v>
                </c:pt>
                <c:pt idx="153">
                  <c:v>3.5765455862923878</c:v>
                </c:pt>
                <c:pt idx="154">
                  <c:v>3.4334837628406931</c:v>
                </c:pt>
                <c:pt idx="155">
                  <c:v>3.2904219393889971</c:v>
                </c:pt>
                <c:pt idx="156">
                  <c:v>3.2188910276631493</c:v>
                </c:pt>
                <c:pt idx="157">
                  <c:v>3.1473601159373015</c:v>
                </c:pt>
                <c:pt idx="158">
                  <c:v>3.0042982924856063</c:v>
                </c:pt>
                <c:pt idx="159">
                  <c:v>2.8612364690339107</c:v>
                </c:pt>
                <c:pt idx="160">
                  <c:v>2.7897055573080629</c:v>
                </c:pt>
                <c:pt idx="161">
                  <c:v>2.7181746455822151</c:v>
                </c:pt>
                <c:pt idx="162">
                  <c:v>2.6466437338563673</c:v>
                </c:pt>
                <c:pt idx="163">
                  <c:v>2.57511282213052</c:v>
                </c:pt>
                <c:pt idx="164">
                  <c:v>2.5035819104046717</c:v>
                </c:pt>
                <c:pt idx="165">
                  <c:v>2.5035819104046717</c:v>
                </c:pt>
                <c:pt idx="166">
                  <c:v>2.4320509986788239</c:v>
                </c:pt>
                <c:pt idx="167">
                  <c:v>2.360520086952976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14A-45E8-87A1-7BD2345ADB46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0,95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F$2:$F$169</c:f>
              <c:numCache>
                <c:formatCode>General</c:formatCode>
                <c:ptCount val="168"/>
                <c:pt idx="119">
                  <c:v>20.958557135673395</c:v>
                </c:pt>
                <c:pt idx="120">
                  <c:v>19.885593459785678</c:v>
                </c:pt>
                <c:pt idx="121">
                  <c:v>19.027222519075504</c:v>
                </c:pt>
                <c:pt idx="122">
                  <c:v>18.383444313542874</c:v>
                </c:pt>
                <c:pt idx="123">
                  <c:v>17.811197019736092</c:v>
                </c:pt>
                <c:pt idx="124">
                  <c:v>17.382011549381009</c:v>
                </c:pt>
                <c:pt idx="125">
                  <c:v>17.095887902477617</c:v>
                </c:pt>
                <c:pt idx="126">
                  <c:v>16.952826079025922</c:v>
                </c:pt>
                <c:pt idx="127">
                  <c:v>16.666702432122531</c:v>
                </c:pt>
                <c:pt idx="128">
                  <c:v>16.309047873493292</c:v>
                </c:pt>
                <c:pt idx="129">
                  <c:v>16.0229242265899</c:v>
                </c:pt>
                <c:pt idx="130">
                  <c:v>15.808331491412355</c:v>
                </c:pt>
                <c:pt idx="131">
                  <c:v>15.593738756234814</c:v>
                </c:pt>
                <c:pt idx="132">
                  <c:v>15.450676932783118</c:v>
                </c:pt>
                <c:pt idx="133">
                  <c:v>15.236084197605576</c:v>
                </c:pt>
                <c:pt idx="134">
                  <c:v>15.021491462428031</c:v>
                </c:pt>
                <c:pt idx="135">
                  <c:v>14.806898727250488</c:v>
                </c:pt>
                <c:pt idx="136">
                  <c:v>14.592305992072944</c:v>
                </c:pt>
                <c:pt idx="137">
                  <c:v>14.449244168621247</c:v>
                </c:pt>
                <c:pt idx="138">
                  <c:v>14.234651433443705</c:v>
                </c:pt>
                <c:pt idx="139">
                  <c:v>14.020058698266164</c:v>
                </c:pt>
                <c:pt idx="140">
                  <c:v>13.876996874814468</c:v>
                </c:pt>
                <c:pt idx="141">
                  <c:v>13.662404139636923</c:v>
                </c:pt>
                <c:pt idx="142">
                  <c:v>13.519342316185227</c:v>
                </c:pt>
                <c:pt idx="143">
                  <c:v>13.376280492733532</c:v>
                </c:pt>
                <c:pt idx="144">
                  <c:v>13.161687757555988</c:v>
                </c:pt>
                <c:pt idx="145">
                  <c:v>13.018625934104293</c:v>
                </c:pt>
                <c:pt idx="146">
                  <c:v>12.875564110652597</c:v>
                </c:pt>
                <c:pt idx="147">
                  <c:v>12.660971375475055</c:v>
                </c:pt>
                <c:pt idx="148">
                  <c:v>12.51790955202336</c:v>
                </c:pt>
                <c:pt idx="149">
                  <c:v>12.374847728571664</c:v>
                </c:pt>
                <c:pt idx="150">
                  <c:v>12.160254993394121</c:v>
                </c:pt>
                <c:pt idx="151">
                  <c:v>12.017193169942425</c:v>
                </c:pt>
                <c:pt idx="152">
                  <c:v>11.87413134649073</c:v>
                </c:pt>
                <c:pt idx="153">
                  <c:v>11.731069523039034</c:v>
                </c:pt>
                <c:pt idx="154">
                  <c:v>11.588007699587338</c:v>
                </c:pt>
                <c:pt idx="155">
                  <c:v>11.444945876135643</c:v>
                </c:pt>
                <c:pt idx="156">
                  <c:v>11.301884052683947</c:v>
                </c:pt>
                <c:pt idx="157">
                  <c:v>11.230353140958099</c:v>
                </c:pt>
                <c:pt idx="158">
                  <c:v>11.087291317506404</c:v>
                </c:pt>
                <c:pt idx="159">
                  <c:v>10.944229494054708</c:v>
                </c:pt>
                <c:pt idx="160">
                  <c:v>10.801167670603013</c:v>
                </c:pt>
                <c:pt idx="161">
                  <c:v>10.729636758877165</c:v>
                </c:pt>
                <c:pt idx="162">
                  <c:v>10.586574935425469</c:v>
                </c:pt>
                <c:pt idx="163">
                  <c:v>10.443513111973774</c:v>
                </c:pt>
                <c:pt idx="164">
                  <c:v>10.30045128852208</c:v>
                </c:pt>
                <c:pt idx="165">
                  <c:v>10.22892037679623</c:v>
                </c:pt>
                <c:pt idx="166">
                  <c:v>10.157389465070382</c:v>
                </c:pt>
                <c:pt idx="167">
                  <c:v>10.01432764161868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14A-45E8-87A1-7BD2345ADB46}"/>
            </c:ext>
          </c:extLst>
        </c:ser>
        <c:ser>
          <c:idx val="5"/>
          <c:order val="4"/>
          <c:tx>
            <c:strRef>
              <c:f>Sheet1!$G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G$2:$G$169</c:f>
              <c:numCache>
                <c:formatCode>General</c:formatCode>
                <c:ptCount val="168"/>
                <c:pt idx="119">
                  <c:v>20.958557135673395</c:v>
                </c:pt>
                <c:pt idx="120">
                  <c:v>20.100186194963221</c:v>
                </c:pt>
                <c:pt idx="121">
                  <c:v>19.599469812882287</c:v>
                </c:pt>
                <c:pt idx="122">
                  <c:v>19.384877077704747</c:v>
                </c:pt>
                <c:pt idx="123">
                  <c:v>19.313346165978896</c:v>
                </c:pt>
                <c:pt idx="124">
                  <c:v>19.384877077704747</c:v>
                </c:pt>
                <c:pt idx="125">
                  <c:v>19.742531636333982</c:v>
                </c:pt>
                <c:pt idx="126">
                  <c:v>20.386309841866613</c:v>
                </c:pt>
                <c:pt idx="127">
                  <c:v>20.815495312221699</c:v>
                </c:pt>
                <c:pt idx="128">
                  <c:v>21.101618959125091</c:v>
                </c:pt>
                <c:pt idx="129">
                  <c:v>21.387742606028482</c:v>
                </c:pt>
                <c:pt idx="130">
                  <c:v>21.816928076383569</c:v>
                </c:pt>
                <c:pt idx="131">
                  <c:v>22.317644458464503</c:v>
                </c:pt>
                <c:pt idx="132">
                  <c:v>22.889891752271286</c:v>
                </c:pt>
                <c:pt idx="133">
                  <c:v>23.39060813435222</c:v>
                </c:pt>
                <c:pt idx="134">
                  <c:v>23.819793604707307</c:v>
                </c:pt>
                <c:pt idx="135">
                  <c:v>24.24897907506239</c:v>
                </c:pt>
                <c:pt idx="136">
                  <c:v>24.749695457143329</c:v>
                </c:pt>
                <c:pt idx="137">
                  <c:v>25.321942750950111</c:v>
                </c:pt>
                <c:pt idx="138">
                  <c:v>25.894190044756893</c:v>
                </c:pt>
                <c:pt idx="139">
                  <c:v>26.394906426837824</c:v>
                </c:pt>
                <c:pt idx="140">
                  <c:v>26.895622808918763</c:v>
                </c:pt>
                <c:pt idx="141">
                  <c:v>27.396339190999694</c:v>
                </c:pt>
                <c:pt idx="142">
                  <c:v>27.968586484806476</c:v>
                </c:pt>
                <c:pt idx="143">
                  <c:v>28.612364690339103</c:v>
                </c:pt>
                <c:pt idx="144">
                  <c:v>29.184611984145889</c:v>
                </c:pt>
                <c:pt idx="145">
                  <c:v>29.756859277952671</c:v>
                </c:pt>
                <c:pt idx="146">
                  <c:v>30.329106571759453</c:v>
                </c:pt>
                <c:pt idx="147">
                  <c:v>30.972884777292084</c:v>
                </c:pt>
                <c:pt idx="148">
                  <c:v>31.61666298282471</c:v>
                </c:pt>
                <c:pt idx="149">
                  <c:v>32.260441188357341</c:v>
                </c:pt>
                <c:pt idx="150">
                  <c:v>32.832688482164123</c:v>
                </c:pt>
                <c:pt idx="151">
                  <c:v>33.47646668769675</c:v>
                </c:pt>
                <c:pt idx="152">
                  <c:v>34.120244893229383</c:v>
                </c:pt>
                <c:pt idx="153">
                  <c:v>34.835554010487861</c:v>
                </c:pt>
                <c:pt idx="154">
                  <c:v>35.479332216020495</c:v>
                </c:pt>
                <c:pt idx="155">
                  <c:v>36.194641333278966</c:v>
                </c:pt>
                <c:pt idx="156">
                  <c:v>36.909950450537451</c:v>
                </c:pt>
                <c:pt idx="157">
                  <c:v>37.696790479521773</c:v>
                </c:pt>
                <c:pt idx="158">
                  <c:v>38.412099596780251</c:v>
                </c:pt>
                <c:pt idx="159">
                  <c:v>39.198939625764574</c:v>
                </c:pt>
                <c:pt idx="160">
                  <c:v>39.914248743023052</c:v>
                </c:pt>
                <c:pt idx="161">
                  <c:v>40.701088772007381</c:v>
                </c:pt>
                <c:pt idx="162">
                  <c:v>41.487928800991703</c:v>
                </c:pt>
                <c:pt idx="163">
                  <c:v>42.274768829976033</c:v>
                </c:pt>
                <c:pt idx="164">
                  <c:v>43.061608858960355</c:v>
                </c:pt>
                <c:pt idx="165">
                  <c:v>43.919979799670529</c:v>
                </c:pt>
                <c:pt idx="166">
                  <c:v>44.778350740380702</c:v>
                </c:pt>
                <c:pt idx="167">
                  <c:v>45.63672168109087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31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2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B$155:$B$322</c:f>
              <c:numCache>
                <c:formatCode>0</c:formatCode>
                <c:ptCount val="168"/>
                <c:pt idx="0">
                  <c:v>369</c:v>
                </c:pt>
                <c:pt idx="1">
                  <c:v>473</c:v>
                </c:pt>
                <c:pt idx="2">
                  <c:v>458</c:v>
                </c:pt>
                <c:pt idx="3">
                  <c:v>467</c:v>
                </c:pt>
                <c:pt idx="4">
                  <c:v>450</c:v>
                </c:pt>
                <c:pt idx="5">
                  <c:v>119</c:v>
                </c:pt>
                <c:pt idx="6">
                  <c:v>69</c:v>
                </c:pt>
                <c:pt idx="7">
                  <c:v>340</c:v>
                </c:pt>
                <c:pt idx="8">
                  <c:v>453</c:v>
                </c:pt>
                <c:pt idx="9">
                  <c:v>475</c:v>
                </c:pt>
                <c:pt idx="10">
                  <c:v>607</c:v>
                </c:pt>
                <c:pt idx="11">
                  <c:v>407</c:v>
                </c:pt>
                <c:pt idx="12">
                  <c:v>156</c:v>
                </c:pt>
                <c:pt idx="13">
                  <c:v>58</c:v>
                </c:pt>
                <c:pt idx="14">
                  <c:v>391</c:v>
                </c:pt>
                <c:pt idx="15">
                  <c:v>734</c:v>
                </c:pt>
                <c:pt idx="16">
                  <c:v>548</c:v>
                </c:pt>
                <c:pt idx="17">
                  <c:v>535</c:v>
                </c:pt>
                <c:pt idx="18">
                  <c:v>641</c:v>
                </c:pt>
                <c:pt idx="19">
                  <c:v>120</c:v>
                </c:pt>
                <c:pt idx="20">
                  <c:v>189</c:v>
                </c:pt>
                <c:pt idx="21">
                  <c:v>516</c:v>
                </c:pt>
                <c:pt idx="22">
                  <c:v>702</c:v>
                </c:pt>
                <c:pt idx="23">
                  <c:v>696</c:v>
                </c:pt>
                <c:pt idx="24">
                  <c:v>938</c:v>
                </c:pt>
                <c:pt idx="25">
                  <c:v>833</c:v>
                </c:pt>
                <c:pt idx="26">
                  <c:v>414</c:v>
                </c:pt>
                <c:pt idx="27">
                  <c:v>75</c:v>
                </c:pt>
                <c:pt idx="28">
                  <c:v>585</c:v>
                </c:pt>
                <c:pt idx="29">
                  <c:v>988</c:v>
                </c:pt>
                <c:pt idx="30">
                  <c:v>1085</c:v>
                </c:pt>
                <c:pt idx="31">
                  <c:v>1021</c:v>
                </c:pt>
                <c:pt idx="32">
                  <c:v>1007</c:v>
                </c:pt>
                <c:pt idx="33">
                  <c:v>547</c:v>
                </c:pt>
                <c:pt idx="34">
                  <c:v>84</c:v>
                </c:pt>
                <c:pt idx="35">
                  <c:v>838</c:v>
                </c:pt>
                <c:pt idx="36">
                  <c:v>923</c:v>
                </c:pt>
                <c:pt idx="37">
                  <c:v>1125</c:v>
                </c:pt>
                <c:pt idx="38">
                  <c:v>797</c:v>
                </c:pt>
                <c:pt idx="39">
                  <c:v>1127</c:v>
                </c:pt>
                <c:pt idx="40">
                  <c:v>561</c:v>
                </c:pt>
                <c:pt idx="41">
                  <c:v>56</c:v>
                </c:pt>
                <c:pt idx="42">
                  <c:v>714</c:v>
                </c:pt>
                <c:pt idx="43">
                  <c:v>1132</c:v>
                </c:pt>
                <c:pt idx="44">
                  <c:v>1093</c:v>
                </c:pt>
                <c:pt idx="45">
                  <c:v>1037</c:v>
                </c:pt>
                <c:pt idx="46">
                  <c:v>759</c:v>
                </c:pt>
                <c:pt idx="47">
                  <c:v>410</c:v>
                </c:pt>
                <c:pt idx="48">
                  <c:v>73</c:v>
                </c:pt>
                <c:pt idx="49">
                  <c:v>577</c:v>
                </c:pt>
                <c:pt idx="50">
                  <c:v>983</c:v>
                </c:pt>
                <c:pt idx="51">
                  <c:v>805</c:v>
                </c:pt>
                <c:pt idx="52">
                  <c:v>745</c:v>
                </c:pt>
                <c:pt idx="53">
                  <c:v>576</c:v>
                </c:pt>
                <c:pt idx="54">
                  <c:v>226</c:v>
                </c:pt>
                <c:pt idx="55">
                  <c:v>59</c:v>
                </c:pt>
                <c:pt idx="56">
                  <c:v>432</c:v>
                </c:pt>
                <c:pt idx="57">
                  <c:v>827</c:v>
                </c:pt>
                <c:pt idx="58">
                  <c:v>575</c:v>
                </c:pt>
                <c:pt idx="59">
                  <c:v>509</c:v>
                </c:pt>
                <c:pt idx="60">
                  <c:v>302</c:v>
                </c:pt>
                <c:pt idx="61">
                  <c:v>60</c:v>
                </c:pt>
                <c:pt idx="62">
                  <c:v>110</c:v>
                </c:pt>
                <c:pt idx="63">
                  <c:v>114</c:v>
                </c:pt>
                <c:pt idx="64">
                  <c:v>461</c:v>
                </c:pt>
                <c:pt idx="65">
                  <c:v>658</c:v>
                </c:pt>
                <c:pt idx="66">
                  <c:v>474</c:v>
                </c:pt>
                <c:pt idx="67">
                  <c:v>397</c:v>
                </c:pt>
                <c:pt idx="68">
                  <c:v>138</c:v>
                </c:pt>
                <c:pt idx="69">
                  <c:v>27</c:v>
                </c:pt>
                <c:pt idx="70">
                  <c:v>201</c:v>
                </c:pt>
                <c:pt idx="71">
                  <c:v>490</c:v>
                </c:pt>
                <c:pt idx="72">
                  <c:v>283</c:v>
                </c:pt>
                <c:pt idx="73">
                  <c:v>331</c:v>
                </c:pt>
                <c:pt idx="74">
                  <c:v>238</c:v>
                </c:pt>
                <c:pt idx="75">
                  <c:v>82</c:v>
                </c:pt>
                <c:pt idx="76">
                  <c:v>29</c:v>
                </c:pt>
                <c:pt idx="77">
                  <c:v>269</c:v>
                </c:pt>
                <c:pt idx="78">
                  <c:v>325</c:v>
                </c:pt>
                <c:pt idx="79">
                  <c:v>296</c:v>
                </c:pt>
                <c:pt idx="80">
                  <c:v>283</c:v>
                </c:pt>
                <c:pt idx="81">
                  <c:v>248</c:v>
                </c:pt>
                <c:pt idx="82">
                  <c:v>61</c:v>
                </c:pt>
                <c:pt idx="83">
                  <c:v>15</c:v>
                </c:pt>
                <c:pt idx="84">
                  <c:v>176</c:v>
                </c:pt>
                <c:pt idx="85">
                  <c:v>349</c:v>
                </c:pt>
                <c:pt idx="86">
                  <c:v>238</c:v>
                </c:pt>
                <c:pt idx="87">
                  <c:v>231</c:v>
                </c:pt>
                <c:pt idx="88">
                  <c:v>156</c:v>
                </c:pt>
                <c:pt idx="89">
                  <c:v>96</c:v>
                </c:pt>
                <c:pt idx="90">
                  <c:v>50</c:v>
                </c:pt>
                <c:pt idx="91">
                  <c:v>155</c:v>
                </c:pt>
                <c:pt idx="92">
                  <c:v>256</c:v>
                </c:pt>
                <c:pt idx="93">
                  <c:v>176</c:v>
                </c:pt>
                <c:pt idx="94">
                  <c:v>161</c:v>
                </c:pt>
                <c:pt idx="95">
                  <c:v>155</c:v>
                </c:pt>
                <c:pt idx="96">
                  <c:v>32</c:v>
                </c:pt>
                <c:pt idx="97">
                  <c:v>6</c:v>
                </c:pt>
                <c:pt idx="98">
                  <c:v>142</c:v>
                </c:pt>
                <c:pt idx="99">
                  <c:v>172</c:v>
                </c:pt>
                <c:pt idx="100">
                  <c:v>97</c:v>
                </c:pt>
                <c:pt idx="101">
                  <c:v>101</c:v>
                </c:pt>
                <c:pt idx="102">
                  <c:v>79</c:v>
                </c:pt>
                <c:pt idx="103">
                  <c:v>38</c:v>
                </c:pt>
                <c:pt idx="104">
                  <c:v>4</c:v>
                </c:pt>
                <c:pt idx="105">
                  <c:v>96</c:v>
                </c:pt>
                <c:pt idx="106">
                  <c:v>80</c:v>
                </c:pt>
                <c:pt idx="107">
                  <c:v>66</c:v>
                </c:pt>
                <c:pt idx="108">
                  <c:v>47</c:v>
                </c:pt>
                <c:pt idx="109">
                  <c:v>67</c:v>
                </c:pt>
                <c:pt idx="110">
                  <c:v>24</c:v>
                </c:pt>
                <c:pt idx="111">
                  <c:v>6</c:v>
                </c:pt>
                <c:pt idx="112">
                  <c:v>35</c:v>
                </c:pt>
                <c:pt idx="113">
                  <c:v>68</c:v>
                </c:pt>
                <c:pt idx="114">
                  <c:v>37</c:v>
                </c:pt>
                <c:pt idx="115">
                  <c:v>45</c:v>
                </c:pt>
                <c:pt idx="116">
                  <c:v>61</c:v>
                </c:pt>
                <c:pt idx="117">
                  <c:v>9</c:v>
                </c:pt>
                <c:pt idx="118">
                  <c:v>6</c:v>
                </c:pt>
                <c:pt idx="119">
                  <c:v>36</c:v>
                </c:pt>
                <c:pt idx="120">
                  <c:v>33</c:v>
                </c:pt>
                <c:pt idx="121">
                  <c:v>34</c:v>
                </c:pt>
                <c:pt idx="122">
                  <c:v>80</c:v>
                </c:pt>
                <c:pt idx="123">
                  <c:v>32</c:v>
                </c:pt>
                <c:pt idx="124">
                  <c:v>17</c:v>
                </c:pt>
                <c:pt idx="125">
                  <c:v>2</c:v>
                </c:pt>
                <c:pt idx="126">
                  <c:v>21</c:v>
                </c:pt>
                <c:pt idx="127">
                  <c:v>59</c:v>
                </c:pt>
                <c:pt idx="128">
                  <c:v>30</c:v>
                </c:pt>
                <c:pt idx="129">
                  <c:v>21</c:v>
                </c:pt>
                <c:pt idx="130">
                  <c:v>31</c:v>
                </c:pt>
                <c:pt idx="131">
                  <c:v>6</c:v>
                </c:pt>
                <c:pt idx="132">
                  <c:v>0</c:v>
                </c:pt>
                <c:pt idx="133">
                  <c:v>17</c:v>
                </c:pt>
                <c:pt idx="134">
                  <c:v>25</c:v>
                </c:pt>
                <c:pt idx="135">
                  <c:v>14</c:v>
                </c:pt>
                <c:pt idx="136">
                  <c:v>17</c:v>
                </c:pt>
                <c:pt idx="137">
                  <c:v>6</c:v>
                </c:pt>
                <c:pt idx="138">
                  <c:v>4</c:v>
                </c:pt>
                <c:pt idx="139">
                  <c:v>1</c:v>
                </c:pt>
                <c:pt idx="140">
                  <c:v>5</c:v>
                </c:pt>
                <c:pt idx="141">
                  <c:v>8</c:v>
                </c:pt>
                <c:pt idx="142">
                  <c:v>4</c:v>
                </c:pt>
                <c:pt idx="143">
                  <c:v>5</c:v>
                </c:pt>
                <c:pt idx="144">
                  <c:v>1</c:v>
                </c:pt>
                <c:pt idx="145">
                  <c:v>0</c:v>
                </c:pt>
                <c:pt idx="14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C$155:$C$322</c:f>
              <c:numCache>
                <c:formatCode>General</c:formatCode>
                <c:ptCount val="16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14A-45E8-87A1-7BD2345ADB4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70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D$155:$D$322</c:f>
              <c:numCache>
                <c:formatCode>General</c:formatCode>
                <c:ptCount val="168"/>
                <c:pt idx="119">
                  <c:v>31</c:v>
                </c:pt>
                <c:pt idx="120">
                  <c:v>29</c:v>
                </c:pt>
                <c:pt idx="121">
                  <c:v>28</c:v>
                </c:pt>
                <c:pt idx="122">
                  <c:v>26</c:v>
                </c:pt>
                <c:pt idx="123">
                  <c:v>25</c:v>
                </c:pt>
                <c:pt idx="124">
                  <c:v>23</c:v>
                </c:pt>
                <c:pt idx="125">
                  <c:v>22</c:v>
                </c:pt>
                <c:pt idx="126">
                  <c:v>21</c:v>
                </c:pt>
                <c:pt idx="127">
                  <c:v>20</c:v>
                </c:pt>
                <c:pt idx="128">
                  <c:v>19</c:v>
                </c:pt>
                <c:pt idx="129">
                  <c:v>18</c:v>
                </c:pt>
                <c:pt idx="130">
                  <c:v>17</c:v>
                </c:pt>
                <c:pt idx="131">
                  <c:v>16</c:v>
                </c:pt>
                <c:pt idx="132">
                  <c:v>15</c:v>
                </c:pt>
                <c:pt idx="133">
                  <c:v>14</c:v>
                </c:pt>
                <c:pt idx="134">
                  <c:v>13</c:v>
                </c:pt>
                <c:pt idx="135">
                  <c:v>13</c:v>
                </c:pt>
                <c:pt idx="136">
                  <c:v>12</c:v>
                </c:pt>
                <c:pt idx="137">
                  <c:v>11</c:v>
                </c:pt>
                <c:pt idx="138">
                  <c:v>11</c:v>
                </c:pt>
                <c:pt idx="139">
                  <c:v>11</c:v>
                </c:pt>
                <c:pt idx="140">
                  <c:v>10</c:v>
                </c:pt>
                <c:pt idx="141">
                  <c:v>10</c:v>
                </c:pt>
                <c:pt idx="142">
                  <c:v>9</c:v>
                </c:pt>
                <c:pt idx="143">
                  <c:v>9</c:v>
                </c:pt>
                <c:pt idx="144">
                  <c:v>8</c:v>
                </c:pt>
                <c:pt idx="145">
                  <c:v>8</c:v>
                </c:pt>
                <c:pt idx="146">
                  <c:v>8</c:v>
                </c:pt>
                <c:pt idx="147">
                  <c:v>7</c:v>
                </c:pt>
                <c:pt idx="148">
                  <c:v>7</c:v>
                </c:pt>
                <c:pt idx="149">
                  <c:v>7</c:v>
                </c:pt>
                <c:pt idx="150">
                  <c:v>6</c:v>
                </c:pt>
                <c:pt idx="151">
                  <c:v>6</c:v>
                </c:pt>
                <c:pt idx="152">
                  <c:v>6</c:v>
                </c:pt>
                <c:pt idx="153">
                  <c:v>6</c:v>
                </c:pt>
                <c:pt idx="154">
                  <c:v>6</c:v>
                </c:pt>
                <c:pt idx="155">
                  <c:v>5</c:v>
                </c:pt>
                <c:pt idx="156">
                  <c:v>5</c:v>
                </c:pt>
                <c:pt idx="157">
                  <c:v>5</c:v>
                </c:pt>
                <c:pt idx="158">
                  <c:v>5</c:v>
                </c:pt>
                <c:pt idx="159">
                  <c:v>5</c:v>
                </c:pt>
                <c:pt idx="160">
                  <c:v>5</c:v>
                </c:pt>
                <c:pt idx="161">
                  <c:v>5</c:v>
                </c:pt>
                <c:pt idx="162">
                  <c:v>4</c:v>
                </c:pt>
                <c:pt idx="163">
                  <c:v>4</c:v>
                </c:pt>
                <c:pt idx="164">
                  <c:v>4</c:v>
                </c:pt>
                <c:pt idx="165">
                  <c:v>4</c:v>
                </c:pt>
                <c:pt idx="166">
                  <c:v>4</c:v>
                </c:pt>
                <c:pt idx="167">
                  <c:v>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14A-45E8-87A1-7BD2345ADB46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0,90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F$155:$F$322</c:f>
              <c:numCache>
                <c:formatCode>General</c:formatCode>
                <c:ptCount val="168"/>
                <c:pt idx="119">
                  <c:v>31</c:v>
                </c:pt>
                <c:pt idx="120">
                  <c:v>32</c:v>
                </c:pt>
                <c:pt idx="121">
                  <c:v>32</c:v>
                </c:pt>
                <c:pt idx="122">
                  <c:v>32</c:v>
                </c:pt>
                <c:pt idx="123">
                  <c:v>30</c:v>
                </c:pt>
                <c:pt idx="124">
                  <c:v>30</c:v>
                </c:pt>
                <c:pt idx="125">
                  <c:v>29</c:v>
                </c:pt>
                <c:pt idx="126">
                  <c:v>29</c:v>
                </c:pt>
                <c:pt idx="127">
                  <c:v>29</c:v>
                </c:pt>
                <c:pt idx="128">
                  <c:v>29</c:v>
                </c:pt>
                <c:pt idx="129">
                  <c:v>28</c:v>
                </c:pt>
                <c:pt idx="130">
                  <c:v>27</c:v>
                </c:pt>
                <c:pt idx="131">
                  <c:v>27</c:v>
                </c:pt>
                <c:pt idx="132">
                  <c:v>27</c:v>
                </c:pt>
                <c:pt idx="133">
                  <c:v>27</c:v>
                </c:pt>
                <c:pt idx="134">
                  <c:v>26</c:v>
                </c:pt>
                <c:pt idx="135">
                  <c:v>26</c:v>
                </c:pt>
                <c:pt idx="136">
                  <c:v>25</c:v>
                </c:pt>
                <c:pt idx="137">
                  <c:v>25</c:v>
                </c:pt>
                <c:pt idx="138">
                  <c:v>25</c:v>
                </c:pt>
                <c:pt idx="139">
                  <c:v>25</c:v>
                </c:pt>
                <c:pt idx="140">
                  <c:v>24</c:v>
                </c:pt>
                <c:pt idx="141">
                  <c:v>24</c:v>
                </c:pt>
                <c:pt idx="142">
                  <c:v>24</c:v>
                </c:pt>
                <c:pt idx="143">
                  <c:v>23</c:v>
                </c:pt>
                <c:pt idx="144">
                  <c:v>23</c:v>
                </c:pt>
                <c:pt idx="145">
                  <c:v>23</c:v>
                </c:pt>
                <c:pt idx="146">
                  <c:v>22</c:v>
                </c:pt>
                <c:pt idx="147">
                  <c:v>22</c:v>
                </c:pt>
                <c:pt idx="148">
                  <c:v>22</c:v>
                </c:pt>
                <c:pt idx="149">
                  <c:v>22</c:v>
                </c:pt>
                <c:pt idx="150">
                  <c:v>21</c:v>
                </c:pt>
                <c:pt idx="151">
                  <c:v>21</c:v>
                </c:pt>
                <c:pt idx="152">
                  <c:v>21</c:v>
                </c:pt>
                <c:pt idx="153">
                  <c:v>21</c:v>
                </c:pt>
                <c:pt idx="154">
                  <c:v>20</c:v>
                </c:pt>
                <c:pt idx="155">
                  <c:v>20</c:v>
                </c:pt>
                <c:pt idx="156">
                  <c:v>20</c:v>
                </c:pt>
                <c:pt idx="157">
                  <c:v>20</c:v>
                </c:pt>
                <c:pt idx="158">
                  <c:v>19</c:v>
                </c:pt>
                <c:pt idx="159">
                  <c:v>19</c:v>
                </c:pt>
                <c:pt idx="160">
                  <c:v>19</c:v>
                </c:pt>
                <c:pt idx="161">
                  <c:v>19</c:v>
                </c:pt>
                <c:pt idx="162">
                  <c:v>19</c:v>
                </c:pt>
                <c:pt idx="163">
                  <c:v>18</c:v>
                </c:pt>
                <c:pt idx="164">
                  <c:v>18</c:v>
                </c:pt>
                <c:pt idx="165">
                  <c:v>18</c:v>
                </c:pt>
                <c:pt idx="166">
                  <c:v>18</c:v>
                </c:pt>
                <c:pt idx="167">
                  <c:v>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14A-45E8-87A1-7BD2345ADB46}"/>
            </c:ext>
          </c:extLst>
        </c:ser>
        <c:ser>
          <c:idx val="5"/>
          <c:order val="4"/>
          <c:tx>
            <c:strRef>
              <c:f>Sheet1!$G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G$155:$G$322</c:f>
              <c:numCache>
                <c:formatCode>General</c:formatCode>
                <c:ptCount val="168"/>
                <c:pt idx="119">
                  <c:v>31</c:v>
                </c:pt>
                <c:pt idx="120">
                  <c:v>36</c:v>
                </c:pt>
                <c:pt idx="121">
                  <c:v>37</c:v>
                </c:pt>
                <c:pt idx="122">
                  <c:v>37</c:v>
                </c:pt>
                <c:pt idx="123">
                  <c:v>36</c:v>
                </c:pt>
                <c:pt idx="124">
                  <c:v>37</c:v>
                </c:pt>
                <c:pt idx="125">
                  <c:v>38</c:v>
                </c:pt>
                <c:pt idx="126">
                  <c:v>39</c:v>
                </c:pt>
                <c:pt idx="127">
                  <c:v>41</c:v>
                </c:pt>
                <c:pt idx="128">
                  <c:v>41</c:v>
                </c:pt>
                <c:pt idx="129">
                  <c:v>41</c:v>
                </c:pt>
                <c:pt idx="130">
                  <c:v>42</c:v>
                </c:pt>
                <c:pt idx="131">
                  <c:v>43</c:v>
                </c:pt>
                <c:pt idx="132">
                  <c:v>44</c:v>
                </c:pt>
                <c:pt idx="133">
                  <c:v>45</c:v>
                </c:pt>
                <c:pt idx="134">
                  <c:v>46</c:v>
                </c:pt>
                <c:pt idx="135">
                  <c:v>47</c:v>
                </c:pt>
                <c:pt idx="136">
                  <c:v>48</c:v>
                </c:pt>
                <c:pt idx="137">
                  <c:v>49</c:v>
                </c:pt>
                <c:pt idx="138">
                  <c:v>50</c:v>
                </c:pt>
                <c:pt idx="139">
                  <c:v>51</c:v>
                </c:pt>
                <c:pt idx="140">
                  <c:v>52</c:v>
                </c:pt>
                <c:pt idx="141">
                  <c:v>53</c:v>
                </c:pt>
                <c:pt idx="142">
                  <c:v>54</c:v>
                </c:pt>
                <c:pt idx="143">
                  <c:v>55</c:v>
                </c:pt>
                <c:pt idx="144">
                  <c:v>56</c:v>
                </c:pt>
                <c:pt idx="145">
                  <c:v>57</c:v>
                </c:pt>
                <c:pt idx="146">
                  <c:v>58</c:v>
                </c:pt>
                <c:pt idx="147">
                  <c:v>60</c:v>
                </c:pt>
                <c:pt idx="148">
                  <c:v>61</c:v>
                </c:pt>
                <c:pt idx="149">
                  <c:v>62</c:v>
                </c:pt>
                <c:pt idx="150">
                  <c:v>63</c:v>
                </c:pt>
                <c:pt idx="151">
                  <c:v>65</c:v>
                </c:pt>
                <c:pt idx="152">
                  <c:v>66</c:v>
                </c:pt>
                <c:pt idx="153">
                  <c:v>67</c:v>
                </c:pt>
                <c:pt idx="154">
                  <c:v>68</c:v>
                </c:pt>
                <c:pt idx="155">
                  <c:v>70</c:v>
                </c:pt>
                <c:pt idx="156">
                  <c:v>71</c:v>
                </c:pt>
                <c:pt idx="157">
                  <c:v>72</c:v>
                </c:pt>
                <c:pt idx="158">
                  <c:v>74</c:v>
                </c:pt>
                <c:pt idx="159">
                  <c:v>75</c:v>
                </c:pt>
                <c:pt idx="160">
                  <c:v>77</c:v>
                </c:pt>
                <c:pt idx="161">
                  <c:v>78</c:v>
                </c:pt>
                <c:pt idx="162">
                  <c:v>80</c:v>
                </c:pt>
                <c:pt idx="163">
                  <c:v>81</c:v>
                </c:pt>
                <c:pt idx="164">
                  <c:v>83</c:v>
                </c:pt>
                <c:pt idx="165">
                  <c:v>84</c:v>
                </c:pt>
                <c:pt idx="166">
                  <c:v>86</c:v>
                </c:pt>
                <c:pt idx="167">
                  <c:v>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31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3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5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H$2:$H$169</c:f>
              <c:numCache>
                <c:formatCode>0</c:formatCode>
                <c:ptCount val="168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  <c:pt idx="126">
                  <c:v>100</c:v>
                </c:pt>
                <c:pt idx="127">
                  <c:v>100</c:v>
                </c:pt>
                <c:pt idx="128">
                  <c:v>100</c:v>
                </c:pt>
                <c:pt idx="129">
                  <c:v>100</c:v>
                </c:pt>
                <c:pt idx="130">
                  <c:v>100</c:v>
                </c:pt>
                <c:pt idx="131">
                  <c:v>100</c:v>
                </c:pt>
                <c:pt idx="132">
                  <c:v>100</c:v>
                </c:pt>
                <c:pt idx="133">
                  <c:v>100</c:v>
                </c:pt>
                <c:pt idx="134">
                  <c:v>100</c:v>
                </c:pt>
                <c:pt idx="135">
                  <c:v>100</c:v>
                </c:pt>
                <c:pt idx="136">
                  <c:v>100</c:v>
                </c:pt>
                <c:pt idx="137">
                  <c:v>100</c:v>
                </c:pt>
                <c:pt idx="138">
                  <c:v>100</c:v>
                </c:pt>
                <c:pt idx="139">
                  <c:v>100</c:v>
                </c:pt>
                <c:pt idx="140">
                  <c:v>100</c:v>
                </c:pt>
                <c:pt idx="141">
                  <c:v>100</c:v>
                </c:pt>
                <c:pt idx="142">
                  <c:v>100</c:v>
                </c:pt>
                <c:pt idx="143">
                  <c:v>100</c:v>
                </c:pt>
                <c:pt idx="144">
                  <c:v>100</c:v>
                </c:pt>
                <c:pt idx="145">
                  <c:v>100</c:v>
                </c:pt>
                <c:pt idx="146">
                  <c:v>100</c:v>
                </c:pt>
                <c:pt idx="147">
                  <c:v>100</c:v>
                </c:pt>
                <c:pt idx="148">
                  <c:v>100</c:v>
                </c:pt>
                <c:pt idx="149">
                  <c:v>100</c:v>
                </c:pt>
                <c:pt idx="150">
                  <c:v>100</c:v>
                </c:pt>
                <c:pt idx="151">
                  <c:v>100</c:v>
                </c:pt>
                <c:pt idx="152">
                  <c:v>100</c:v>
                </c:pt>
                <c:pt idx="153">
                  <c:v>100</c:v>
                </c:pt>
                <c:pt idx="154">
                  <c:v>100</c:v>
                </c:pt>
                <c:pt idx="155">
                  <c:v>100</c:v>
                </c:pt>
                <c:pt idx="156">
                  <c:v>100</c:v>
                </c:pt>
                <c:pt idx="157">
                  <c:v>100</c:v>
                </c:pt>
                <c:pt idx="158">
                  <c:v>100</c:v>
                </c:pt>
                <c:pt idx="159">
                  <c:v>100</c:v>
                </c:pt>
                <c:pt idx="160">
                  <c:v>100</c:v>
                </c:pt>
                <c:pt idx="161">
                  <c:v>100</c:v>
                </c:pt>
                <c:pt idx="162">
                  <c:v>100</c:v>
                </c:pt>
                <c:pt idx="163">
                  <c:v>100</c:v>
                </c:pt>
                <c:pt idx="164">
                  <c:v>100</c:v>
                </c:pt>
                <c:pt idx="165">
                  <c:v>100</c:v>
                </c:pt>
                <c:pt idx="166">
                  <c:v>100</c:v>
                </c:pt>
                <c:pt idx="167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EF5-483F-B422-4E0629062509}"/>
            </c:ext>
          </c:extLst>
        </c:ser>
        <c:ser>
          <c:idx val="7"/>
          <c:order val="6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rgbClr val="C2FFDF"/>
            </a:solidFill>
            <a:ln>
              <a:noFill/>
            </a:ln>
            <a:effectLst/>
          </c:spP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I$2:$I$169</c:f>
              <c:numCache>
                <c:formatCode>0</c:formatCode>
                <c:ptCount val="168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  <c:pt idx="79">
                  <c:v>50</c:v>
                </c:pt>
                <c:pt idx="80">
                  <c:v>50</c:v>
                </c:pt>
                <c:pt idx="81">
                  <c:v>50</c:v>
                </c:pt>
                <c:pt idx="82">
                  <c:v>50</c:v>
                </c:pt>
                <c:pt idx="83">
                  <c:v>50</c:v>
                </c:pt>
                <c:pt idx="84">
                  <c:v>50</c:v>
                </c:pt>
                <c:pt idx="85">
                  <c:v>50</c:v>
                </c:pt>
                <c:pt idx="86">
                  <c:v>50</c:v>
                </c:pt>
                <c:pt idx="87">
                  <c:v>50</c:v>
                </c:pt>
                <c:pt idx="88">
                  <c:v>50</c:v>
                </c:pt>
                <c:pt idx="89">
                  <c:v>50</c:v>
                </c:pt>
                <c:pt idx="90">
                  <c:v>50</c:v>
                </c:pt>
                <c:pt idx="91">
                  <c:v>50</c:v>
                </c:pt>
                <c:pt idx="92">
                  <c:v>50</c:v>
                </c:pt>
                <c:pt idx="93">
                  <c:v>50</c:v>
                </c:pt>
                <c:pt idx="94">
                  <c:v>50</c:v>
                </c:pt>
                <c:pt idx="95">
                  <c:v>50</c:v>
                </c:pt>
                <c:pt idx="96">
                  <c:v>50</c:v>
                </c:pt>
                <c:pt idx="97">
                  <c:v>50</c:v>
                </c:pt>
                <c:pt idx="98">
                  <c:v>50</c:v>
                </c:pt>
                <c:pt idx="99">
                  <c:v>50</c:v>
                </c:pt>
                <c:pt idx="100">
                  <c:v>50</c:v>
                </c:pt>
                <c:pt idx="101">
                  <c:v>50</c:v>
                </c:pt>
                <c:pt idx="102">
                  <c:v>50</c:v>
                </c:pt>
                <c:pt idx="103">
                  <c:v>50</c:v>
                </c:pt>
                <c:pt idx="104">
                  <c:v>50</c:v>
                </c:pt>
                <c:pt idx="105">
                  <c:v>50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  <c:pt idx="110">
                  <c:v>50</c:v>
                </c:pt>
                <c:pt idx="111">
                  <c:v>50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0</c:v>
                </c:pt>
                <c:pt idx="122">
                  <c:v>50</c:v>
                </c:pt>
                <c:pt idx="123">
                  <c:v>50</c:v>
                </c:pt>
                <c:pt idx="124">
                  <c:v>50</c:v>
                </c:pt>
                <c:pt idx="125">
                  <c:v>50</c:v>
                </c:pt>
                <c:pt idx="126">
                  <c:v>50</c:v>
                </c:pt>
                <c:pt idx="127">
                  <c:v>50</c:v>
                </c:pt>
                <c:pt idx="128">
                  <c:v>50</c:v>
                </c:pt>
                <c:pt idx="129">
                  <c:v>50</c:v>
                </c:pt>
                <c:pt idx="130">
                  <c:v>50</c:v>
                </c:pt>
                <c:pt idx="131">
                  <c:v>50</c:v>
                </c:pt>
                <c:pt idx="132">
                  <c:v>50</c:v>
                </c:pt>
                <c:pt idx="133">
                  <c:v>50</c:v>
                </c:pt>
                <c:pt idx="134">
                  <c:v>50</c:v>
                </c:pt>
                <c:pt idx="135">
                  <c:v>50</c:v>
                </c:pt>
                <c:pt idx="136">
                  <c:v>50</c:v>
                </c:pt>
                <c:pt idx="137">
                  <c:v>50</c:v>
                </c:pt>
                <c:pt idx="138">
                  <c:v>50</c:v>
                </c:pt>
                <c:pt idx="139">
                  <c:v>50</c:v>
                </c:pt>
                <c:pt idx="140">
                  <c:v>50</c:v>
                </c:pt>
                <c:pt idx="141">
                  <c:v>50</c:v>
                </c:pt>
                <c:pt idx="142">
                  <c:v>50</c:v>
                </c:pt>
                <c:pt idx="143">
                  <c:v>50</c:v>
                </c:pt>
                <c:pt idx="144">
                  <c:v>50</c:v>
                </c:pt>
                <c:pt idx="145">
                  <c:v>50</c:v>
                </c:pt>
                <c:pt idx="146">
                  <c:v>50</c:v>
                </c:pt>
                <c:pt idx="147">
                  <c:v>50</c:v>
                </c:pt>
                <c:pt idx="148">
                  <c:v>50</c:v>
                </c:pt>
                <c:pt idx="149">
                  <c:v>50</c:v>
                </c:pt>
                <c:pt idx="150">
                  <c:v>50</c:v>
                </c:pt>
                <c:pt idx="151">
                  <c:v>50</c:v>
                </c:pt>
                <c:pt idx="152">
                  <c:v>50</c:v>
                </c:pt>
                <c:pt idx="153">
                  <c:v>50</c:v>
                </c:pt>
                <c:pt idx="154">
                  <c:v>50</c:v>
                </c:pt>
                <c:pt idx="155">
                  <c:v>50</c:v>
                </c:pt>
                <c:pt idx="156">
                  <c:v>50</c:v>
                </c:pt>
                <c:pt idx="157">
                  <c:v>50</c:v>
                </c:pt>
                <c:pt idx="158">
                  <c:v>50</c:v>
                </c:pt>
                <c:pt idx="159">
                  <c:v>50</c:v>
                </c:pt>
                <c:pt idx="160">
                  <c:v>50</c:v>
                </c:pt>
                <c:pt idx="161">
                  <c:v>50</c:v>
                </c:pt>
                <c:pt idx="162">
                  <c:v>50</c:v>
                </c:pt>
                <c:pt idx="163">
                  <c:v>50</c:v>
                </c:pt>
                <c:pt idx="164">
                  <c:v>50</c:v>
                </c:pt>
                <c:pt idx="165">
                  <c:v>50</c:v>
                </c:pt>
                <c:pt idx="166">
                  <c:v>50</c:v>
                </c:pt>
                <c:pt idx="167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EF5-483F-B422-4E06290625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B$2:$B$169</c:f>
              <c:numCache>
                <c:formatCode>0</c:formatCode>
                <c:ptCount val="168"/>
                <c:pt idx="0">
                  <c:v>375.7277977969112</c:v>
                </c:pt>
                <c:pt idx="1">
                  <c:v>366.40452738011442</c:v>
                </c:pt>
                <c:pt idx="2">
                  <c:v>365.16142465787482</c:v>
                </c:pt>
                <c:pt idx="3">
                  <c:v>372.15387747047242</c:v>
                </c:pt>
                <c:pt idx="4">
                  <c:v>376.34934915803098</c:v>
                </c:pt>
                <c:pt idx="5">
                  <c:v>375.57240995663125</c:v>
                </c:pt>
                <c:pt idx="6">
                  <c:v>373.70775587327188</c:v>
                </c:pt>
                <c:pt idx="7">
                  <c:v>369.20150850515341</c:v>
                </c:pt>
                <c:pt idx="8">
                  <c:v>366.0937516995545</c:v>
                </c:pt>
                <c:pt idx="9">
                  <c:v>368.7353449843136</c:v>
                </c:pt>
                <c:pt idx="10">
                  <c:v>390.48964262350614</c:v>
                </c:pt>
                <c:pt idx="11">
                  <c:v>383.80796549146845</c:v>
                </c:pt>
                <c:pt idx="12">
                  <c:v>389.55731558182646</c:v>
                </c:pt>
                <c:pt idx="13">
                  <c:v>387.84804933874705</c:v>
                </c:pt>
                <c:pt idx="14">
                  <c:v>395.77282919302434</c:v>
                </c:pt>
                <c:pt idx="15">
                  <c:v>439.43681231168932</c:v>
                </c:pt>
                <c:pt idx="16">
                  <c:v>450.78012465212544</c:v>
                </c:pt>
                <c:pt idx="17">
                  <c:v>439.59220015196934</c:v>
                </c:pt>
                <c:pt idx="18">
                  <c:v>475.95295477747686</c:v>
                </c:pt>
                <c:pt idx="19">
                  <c:v>470.35899252739881</c:v>
                </c:pt>
                <c:pt idx="20">
                  <c:v>490.71479960407174</c:v>
                </c:pt>
                <c:pt idx="21">
                  <c:v>510.1382796390651</c:v>
                </c:pt>
                <c:pt idx="22">
                  <c:v>505.16586875010677</c:v>
                </c:pt>
                <c:pt idx="23">
                  <c:v>528.16326911153897</c:v>
                </c:pt>
                <c:pt idx="24">
                  <c:v>590.78456874435744</c:v>
                </c:pt>
                <c:pt idx="25">
                  <c:v>620.61903407810735</c:v>
                </c:pt>
                <c:pt idx="26">
                  <c:v>666.3030591204116</c:v>
                </c:pt>
                <c:pt idx="27">
                  <c:v>648.58884532849765</c:v>
                </c:pt>
                <c:pt idx="28">
                  <c:v>659.31060630781394</c:v>
                </c:pt>
                <c:pt idx="29">
                  <c:v>703.75152862787877</c:v>
                </c:pt>
                <c:pt idx="30">
                  <c:v>764.19739849677796</c:v>
                </c:pt>
                <c:pt idx="31">
                  <c:v>777.09458924001365</c:v>
                </c:pt>
                <c:pt idx="32">
                  <c:v>804.13207344872433</c:v>
                </c:pt>
                <c:pt idx="33">
                  <c:v>824.79865620595729</c:v>
                </c:pt>
                <c:pt idx="34">
                  <c:v>826.19714676847673</c:v>
                </c:pt>
                <c:pt idx="35">
                  <c:v>865.51027035930326</c:v>
                </c:pt>
                <c:pt idx="36">
                  <c:v>855.4100607411068</c:v>
                </c:pt>
                <c:pt idx="37">
                  <c:v>861.62557435230462</c:v>
                </c:pt>
                <c:pt idx="38">
                  <c:v>826.81869812959644</c:v>
                </c:pt>
                <c:pt idx="39">
                  <c:v>845.46523896319013</c:v>
                </c:pt>
                <c:pt idx="40">
                  <c:v>847.64066872710953</c:v>
                </c:pt>
                <c:pt idx="41">
                  <c:v>843.28980919927096</c:v>
                </c:pt>
                <c:pt idx="42">
                  <c:v>824.02171700455756</c:v>
                </c:pt>
                <c:pt idx="43">
                  <c:v>856.49777562306645</c:v>
                </c:pt>
                <c:pt idx="44">
                  <c:v>851.52536473410805</c:v>
                </c:pt>
                <c:pt idx="45">
                  <c:v>888.81844640129532</c:v>
                </c:pt>
                <c:pt idx="46">
                  <c:v>831.63572117827493</c:v>
                </c:pt>
                <c:pt idx="47">
                  <c:v>808.17215729600298</c:v>
                </c:pt>
                <c:pt idx="48">
                  <c:v>810.81375058076208</c:v>
                </c:pt>
                <c:pt idx="49">
                  <c:v>789.5256164624094</c:v>
                </c:pt>
                <c:pt idx="50">
                  <c:v>766.37282826069736</c:v>
                </c:pt>
                <c:pt idx="51">
                  <c:v>721.62113026007262</c:v>
                </c:pt>
                <c:pt idx="52">
                  <c:v>676.24788089832816</c:v>
                </c:pt>
                <c:pt idx="53">
                  <c:v>647.81190612709793</c:v>
                </c:pt>
                <c:pt idx="54">
                  <c:v>619.22054351558779</c:v>
                </c:pt>
                <c:pt idx="55">
                  <c:v>617.04511375166851</c:v>
                </c:pt>
                <c:pt idx="56">
                  <c:v>594.51387691107618</c:v>
                </c:pt>
                <c:pt idx="57">
                  <c:v>570.2733738274045</c:v>
                </c:pt>
                <c:pt idx="58">
                  <c:v>534.5341705630168</c:v>
                </c:pt>
                <c:pt idx="59">
                  <c:v>497.86264025694931</c:v>
                </c:pt>
                <c:pt idx="60">
                  <c:v>455.2863720202439</c:v>
                </c:pt>
                <c:pt idx="61">
                  <c:v>429.49199053377276</c:v>
                </c:pt>
                <c:pt idx="62">
                  <c:v>437.41677038805005</c:v>
                </c:pt>
                <c:pt idx="63">
                  <c:v>388.003437179027</c:v>
                </c:pt>
                <c:pt idx="64">
                  <c:v>331.13148763656648</c:v>
                </c:pt>
                <c:pt idx="65">
                  <c:v>344.02867837980205</c:v>
                </c:pt>
                <c:pt idx="66">
                  <c:v>338.59010397000395</c:v>
                </c:pt>
                <c:pt idx="67">
                  <c:v>353.35194879659883</c:v>
                </c:pt>
                <c:pt idx="68">
                  <c:v>365.47220033843473</c:v>
                </c:pt>
                <c:pt idx="69">
                  <c:v>352.57500959519916</c:v>
                </c:pt>
                <c:pt idx="70">
                  <c:v>366.0937516995545</c:v>
                </c:pt>
                <c:pt idx="71">
                  <c:v>370.59999906767297</c:v>
                </c:pt>
                <c:pt idx="72">
                  <c:v>312.32955896269294</c:v>
                </c:pt>
                <c:pt idx="73">
                  <c:v>290.10909780266059</c:v>
                </c:pt>
                <c:pt idx="74">
                  <c:v>265.40243119814903</c:v>
                </c:pt>
                <c:pt idx="75">
                  <c:v>256.70071214247201</c:v>
                </c:pt>
                <c:pt idx="76">
                  <c:v>257.01148782303187</c:v>
                </c:pt>
                <c:pt idx="77">
                  <c:v>267.57786096206826</c:v>
                </c:pt>
                <c:pt idx="78">
                  <c:v>241.93886731587708</c:v>
                </c:pt>
                <c:pt idx="79">
                  <c:v>243.95890923951637</c:v>
                </c:pt>
                <c:pt idx="80">
                  <c:v>236.50029290607895</c:v>
                </c:pt>
                <c:pt idx="81">
                  <c:v>238.05417130887841</c:v>
                </c:pt>
                <c:pt idx="82">
                  <c:v>234.79102666299949</c:v>
                </c:pt>
                <c:pt idx="83">
                  <c:v>232.61559689908023</c:v>
                </c:pt>
                <c:pt idx="84">
                  <c:v>218.16452775304521</c:v>
                </c:pt>
                <c:pt idx="85">
                  <c:v>221.89383591976392</c:v>
                </c:pt>
                <c:pt idx="86">
                  <c:v>212.88134118352701</c:v>
                </c:pt>
                <c:pt idx="87">
                  <c:v>204.80117348896979</c:v>
                </c:pt>
                <c:pt idx="88">
                  <c:v>190.5054921832147</c:v>
                </c:pt>
                <c:pt idx="89">
                  <c:v>195.94406659301282</c:v>
                </c:pt>
                <c:pt idx="90">
                  <c:v>201.38264100281097</c:v>
                </c:pt>
                <c:pt idx="91">
                  <c:v>198.1194963569321</c:v>
                </c:pt>
                <c:pt idx="92">
                  <c:v>183.66842721089705</c:v>
                </c:pt>
                <c:pt idx="93">
                  <c:v>174.03438111354035</c:v>
                </c:pt>
                <c:pt idx="94">
                  <c:v>163.15723229394408</c:v>
                </c:pt>
                <c:pt idx="95">
                  <c:v>163.00184445366412</c:v>
                </c:pt>
                <c:pt idx="96">
                  <c:v>153.05702267574753</c:v>
                </c:pt>
                <c:pt idx="97">
                  <c:v>146.21995770342988</c:v>
                </c:pt>
                <c:pt idx="98">
                  <c:v>144.19991577979056</c:v>
                </c:pt>
                <c:pt idx="99">
                  <c:v>131.14733719627503</c:v>
                </c:pt>
                <c:pt idx="100">
                  <c:v>118.87169781415925</c:v>
                </c:pt>
                <c:pt idx="101">
                  <c:v>109.54842739736245</c:v>
                </c:pt>
                <c:pt idx="102">
                  <c:v>97.738951536086503</c:v>
                </c:pt>
                <c:pt idx="103">
                  <c:v>98.671278577766174</c:v>
                </c:pt>
                <c:pt idx="104">
                  <c:v>98.360502897206288</c:v>
                </c:pt>
                <c:pt idx="105">
                  <c:v>91.212662244328726</c:v>
                </c:pt>
                <c:pt idx="106">
                  <c:v>76.916980938573644</c:v>
                </c:pt>
                <c:pt idx="107">
                  <c:v>72.099957889895279</c:v>
                </c:pt>
                <c:pt idx="108">
                  <c:v>63.709014514778161</c:v>
                </c:pt>
                <c:pt idx="109">
                  <c:v>61.844360431418799</c:v>
                </c:pt>
                <c:pt idx="110">
                  <c:v>59.668930667499545</c:v>
                </c:pt>
                <c:pt idx="111">
                  <c:v>59.979706348059437</c:v>
                </c:pt>
                <c:pt idx="112">
                  <c:v>50.501048090982692</c:v>
                </c:pt>
                <c:pt idx="113">
                  <c:v>48.636394007623331</c:v>
                </c:pt>
                <c:pt idx="114">
                  <c:v>44.130146639504872</c:v>
                </c:pt>
                <c:pt idx="115">
                  <c:v>43.81937095894498</c:v>
                </c:pt>
                <c:pt idx="116">
                  <c:v>42.887043917265295</c:v>
                </c:pt>
                <c:pt idx="117">
                  <c:v>40.556226313066098</c:v>
                </c:pt>
                <c:pt idx="118">
                  <c:v>40.556226313066098</c:v>
                </c:pt>
                <c:pt idx="119">
                  <c:v>40.711614153346041</c:v>
                </c:pt>
                <c:pt idx="120">
                  <c:v>35.273039743547912</c:v>
                </c:pt>
                <c:pt idx="121">
                  <c:v>34.80687622270807</c:v>
                </c:pt>
                <c:pt idx="122">
                  <c:v>40.245450632506198</c:v>
                </c:pt>
                <c:pt idx="123">
                  <c:v>35.739203264387747</c:v>
                </c:pt>
                <c:pt idx="124">
                  <c:v>36.982305986627324</c:v>
                </c:pt>
                <c:pt idx="125">
                  <c:v>36.360754625507539</c:v>
                </c:pt>
                <c:pt idx="126">
                  <c:v>34.029937021308335</c:v>
                </c:pt>
                <c:pt idx="127">
                  <c:v>38.070020868586951</c:v>
                </c:pt>
                <c:pt idx="128">
                  <c:v>37.448469507467159</c:v>
                </c:pt>
                <c:pt idx="129">
                  <c:v>28.280586930950303</c:v>
                </c:pt>
                <c:pt idx="130">
                  <c:v>28.125199090670357</c:v>
                </c:pt>
                <c:pt idx="131">
                  <c:v>26.415932847590941</c:v>
                </c:pt>
                <c:pt idx="132">
                  <c:v>26.105157167031052</c:v>
                </c:pt>
                <c:pt idx="133">
                  <c:v>25.483605805911264</c:v>
                </c:pt>
                <c:pt idx="134">
                  <c:v>20.200419236393078</c:v>
                </c:pt>
                <c:pt idx="135">
                  <c:v>17.714213791913927</c:v>
                </c:pt>
                <c:pt idx="136">
                  <c:v>17.092662430794139</c:v>
                </c:pt>
                <c:pt idx="137">
                  <c:v>13.207966423795471</c:v>
                </c:pt>
                <c:pt idx="138">
                  <c:v>12.897190743235578</c:v>
                </c:pt>
                <c:pt idx="139">
                  <c:v>13.052578583515526</c:v>
                </c:pt>
                <c:pt idx="140">
                  <c:v>11.187924500156164</c:v>
                </c:pt>
                <c:pt idx="141">
                  <c:v>8.5463312153970694</c:v>
                </c:pt>
                <c:pt idx="142">
                  <c:v>6.9924528125976035</c:v>
                </c:pt>
                <c:pt idx="143">
                  <c:v>5.1277987292382425</c:v>
                </c:pt>
                <c:pt idx="144">
                  <c:v>4.3508595278385087</c:v>
                </c:pt>
                <c:pt idx="145">
                  <c:v>3.7293081667187216</c:v>
                </c:pt>
                <c:pt idx="146">
                  <c:v>3.57392032643877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C$2:$C$169</c:f>
              <c:numCache>
                <c:formatCode>General</c:formatCode>
                <c:ptCount val="16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14A-45E8-87A1-7BD2345ADB4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75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D$2:$D$169</c:f>
              <c:numCache>
                <c:formatCode>General</c:formatCode>
                <c:ptCount val="168"/>
                <c:pt idx="119">
                  <c:v>41.333165514465833</c:v>
                </c:pt>
                <c:pt idx="120">
                  <c:v>38.691572229706736</c:v>
                </c:pt>
                <c:pt idx="121">
                  <c:v>36.360754625507539</c:v>
                </c:pt>
                <c:pt idx="122">
                  <c:v>34.185324861588278</c:v>
                </c:pt>
                <c:pt idx="123">
                  <c:v>32.165282937948973</c:v>
                </c:pt>
                <c:pt idx="124">
                  <c:v>30.300628854589615</c:v>
                </c:pt>
                <c:pt idx="125">
                  <c:v>28.591362611510199</c:v>
                </c:pt>
                <c:pt idx="126">
                  <c:v>27.037484208710733</c:v>
                </c:pt>
                <c:pt idx="127">
                  <c:v>25.638993646191214</c:v>
                </c:pt>
                <c:pt idx="128">
                  <c:v>24.24050308367169</c:v>
                </c:pt>
                <c:pt idx="129">
                  <c:v>22.997400361432117</c:v>
                </c:pt>
                <c:pt idx="130">
                  <c:v>21.754297639192544</c:v>
                </c:pt>
                <c:pt idx="131">
                  <c:v>20.666582757232916</c:v>
                </c:pt>
                <c:pt idx="132">
                  <c:v>19.578867875273289</c:v>
                </c:pt>
                <c:pt idx="133">
                  <c:v>18.491152993313662</c:v>
                </c:pt>
                <c:pt idx="134">
                  <c:v>17.403438111354035</c:v>
                </c:pt>
                <c:pt idx="135">
                  <c:v>16.471111069674354</c:v>
                </c:pt>
                <c:pt idx="136">
                  <c:v>15.538784027994675</c:v>
                </c:pt>
                <c:pt idx="137">
                  <c:v>14.606456986314992</c:v>
                </c:pt>
                <c:pt idx="138">
                  <c:v>13.829517784915259</c:v>
                </c:pt>
                <c:pt idx="139">
                  <c:v>13.207966423795471</c:v>
                </c:pt>
                <c:pt idx="140">
                  <c:v>12.586415062675686</c:v>
                </c:pt>
                <c:pt idx="141">
                  <c:v>12.120251541835845</c:v>
                </c:pt>
                <c:pt idx="142">
                  <c:v>11.498700180716058</c:v>
                </c:pt>
                <c:pt idx="143">
                  <c:v>11.032536659876218</c:v>
                </c:pt>
                <c:pt idx="144">
                  <c:v>10.566373139036378</c:v>
                </c:pt>
                <c:pt idx="145">
                  <c:v>10.100209618196539</c:v>
                </c:pt>
                <c:pt idx="146">
                  <c:v>9.6340460973566984</c:v>
                </c:pt>
                <c:pt idx="147">
                  <c:v>9.1678825765168579</c:v>
                </c:pt>
                <c:pt idx="148">
                  <c:v>8.7017190556770174</c:v>
                </c:pt>
                <c:pt idx="149">
                  <c:v>8.3909433751171232</c:v>
                </c:pt>
                <c:pt idx="150">
                  <c:v>7.9247798542772836</c:v>
                </c:pt>
                <c:pt idx="151">
                  <c:v>7.6140041737173894</c:v>
                </c:pt>
                <c:pt idx="152">
                  <c:v>7.303228493157496</c:v>
                </c:pt>
                <c:pt idx="153">
                  <c:v>6.9924528125976035</c:v>
                </c:pt>
                <c:pt idx="154">
                  <c:v>6.8370649723176555</c:v>
                </c:pt>
                <c:pt idx="155">
                  <c:v>6.5262892917577631</c:v>
                </c:pt>
                <c:pt idx="156">
                  <c:v>6.2155136111978697</c:v>
                </c:pt>
                <c:pt idx="157">
                  <c:v>6.0601257709179226</c:v>
                </c:pt>
                <c:pt idx="158">
                  <c:v>5.9047379306379764</c:v>
                </c:pt>
                <c:pt idx="159">
                  <c:v>5.7493500903580292</c:v>
                </c:pt>
                <c:pt idx="160">
                  <c:v>5.5939622500780821</c:v>
                </c:pt>
                <c:pt idx="161">
                  <c:v>5.4385744097981359</c:v>
                </c:pt>
                <c:pt idx="162">
                  <c:v>5.2831865695181888</c:v>
                </c:pt>
                <c:pt idx="163">
                  <c:v>5.1277987292382425</c:v>
                </c:pt>
                <c:pt idx="164">
                  <c:v>4.9724108889582954</c:v>
                </c:pt>
                <c:pt idx="165">
                  <c:v>4.8170230486783492</c:v>
                </c:pt>
                <c:pt idx="166">
                  <c:v>4.6616352083984021</c:v>
                </c:pt>
                <c:pt idx="167">
                  <c:v>4.50624736811845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14A-45E8-87A1-7BD2345ADB46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0,95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F$2:$F$169</c:f>
              <c:numCache>
                <c:formatCode>General</c:formatCode>
                <c:ptCount val="168"/>
                <c:pt idx="119">
                  <c:v>41.333165514465833</c:v>
                </c:pt>
                <c:pt idx="120">
                  <c:v>39.157735750546578</c:v>
                </c:pt>
                <c:pt idx="121">
                  <c:v>37.448469507467159</c:v>
                </c:pt>
                <c:pt idx="122">
                  <c:v>36.205366785227589</c:v>
                </c:pt>
                <c:pt idx="123">
                  <c:v>34.962264062988012</c:v>
                </c:pt>
                <c:pt idx="124">
                  <c:v>34.185324861588278</c:v>
                </c:pt>
                <c:pt idx="125">
                  <c:v>33.563773500468493</c:v>
                </c:pt>
                <c:pt idx="126">
                  <c:v>33.2529978199086</c:v>
                </c:pt>
                <c:pt idx="127">
                  <c:v>32.786834299068758</c:v>
                </c:pt>
                <c:pt idx="128">
                  <c:v>32.320670778228923</c:v>
                </c:pt>
                <c:pt idx="129">
                  <c:v>31.699119417109134</c:v>
                </c:pt>
                <c:pt idx="130">
                  <c:v>31.232955896269296</c:v>
                </c:pt>
                <c:pt idx="131">
                  <c:v>30.766792375429453</c:v>
                </c:pt>
                <c:pt idx="132">
                  <c:v>30.456016694869557</c:v>
                </c:pt>
                <c:pt idx="133">
                  <c:v>30.145241014309665</c:v>
                </c:pt>
                <c:pt idx="134">
                  <c:v>29.679077493469823</c:v>
                </c:pt>
                <c:pt idx="135">
                  <c:v>29.212913972629984</c:v>
                </c:pt>
                <c:pt idx="136">
                  <c:v>28.746750451790142</c:v>
                </c:pt>
                <c:pt idx="137">
                  <c:v>28.435974771230253</c:v>
                </c:pt>
                <c:pt idx="138">
                  <c:v>28.125199090670357</c:v>
                </c:pt>
                <c:pt idx="139">
                  <c:v>27.814423410110464</c:v>
                </c:pt>
                <c:pt idx="140">
                  <c:v>27.348259889270622</c:v>
                </c:pt>
                <c:pt idx="141">
                  <c:v>27.037484208710733</c:v>
                </c:pt>
                <c:pt idx="142">
                  <c:v>26.726708528150837</c:v>
                </c:pt>
                <c:pt idx="143">
                  <c:v>26.415932847590941</c:v>
                </c:pt>
                <c:pt idx="144">
                  <c:v>26.105157167031052</c:v>
                </c:pt>
                <c:pt idx="145">
                  <c:v>25.794381486471156</c:v>
                </c:pt>
                <c:pt idx="146">
                  <c:v>25.328217965631318</c:v>
                </c:pt>
                <c:pt idx="147">
                  <c:v>25.017442285071422</c:v>
                </c:pt>
                <c:pt idx="148">
                  <c:v>24.706666604511533</c:v>
                </c:pt>
                <c:pt idx="149">
                  <c:v>24.395890923951637</c:v>
                </c:pt>
                <c:pt idx="150">
                  <c:v>24.085115243391744</c:v>
                </c:pt>
                <c:pt idx="151">
                  <c:v>23.774339562831848</c:v>
                </c:pt>
                <c:pt idx="152">
                  <c:v>23.463563882271956</c:v>
                </c:pt>
                <c:pt idx="153">
                  <c:v>23.308176041992009</c:v>
                </c:pt>
                <c:pt idx="154">
                  <c:v>22.997400361432117</c:v>
                </c:pt>
                <c:pt idx="155">
                  <c:v>22.686624680872225</c:v>
                </c:pt>
                <c:pt idx="156">
                  <c:v>22.375849000312328</c:v>
                </c:pt>
                <c:pt idx="157">
                  <c:v>22.220461160032386</c:v>
                </c:pt>
                <c:pt idx="158">
                  <c:v>21.90968547947249</c:v>
                </c:pt>
                <c:pt idx="159">
                  <c:v>21.598909798912597</c:v>
                </c:pt>
                <c:pt idx="160">
                  <c:v>21.288134118352701</c:v>
                </c:pt>
                <c:pt idx="161">
                  <c:v>21.132746278072755</c:v>
                </c:pt>
                <c:pt idx="162">
                  <c:v>20.977358437792809</c:v>
                </c:pt>
                <c:pt idx="163">
                  <c:v>20.666582757232916</c:v>
                </c:pt>
                <c:pt idx="164">
                  <c:v>20.35580707667302</c:v>
                </c:pt>
                <c:pt idx="165">
                  <c:v>20.200419236393078</c:v>
                </c:pt>
                <c:pt idx="166">
                  <c:v>20.045031396113128</c:v>
                </c:pt>
                <c:pt idx="167">
                  <c:v>19.8896435558331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14A-45E8-87A1-7BD2345ADB46}"/>
            </c:ext>
          </c:extLst>
        </c:ser>
        <c:ser>
          <c:idx val="5"/>
          <c:order val="4"/>
          <c:tx>
            <c:strRef>
              <c:f>Sheet1!$G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G$2:$G$169</c:f>
              <c:numCache>
                <c:formatCode>General</c:formatCode>
                <c:ptCount val="168"/>
                <c:pt idx="119">
                  <c:v>41.333165514465833</c:v>
                </c:pt>
                <c:pt idx="120">
                  <c:v>39.779287111666363</c:v>
                </c:pt>
                <c:pt idx="121">
                  <c:v>38.846960069986679</c:v>
                </c:pt>
                <c:pt idx="122">
                  <c:v>38.380796549146844</c:v>
                </c:pt>
                <c:pt idx="123">
                  <c:v>38.070020868586951</c:v>
                </c:pt>
                <c:pt idx="124">
                  <c:v>38.380796549146844</c:v>
                </c:pt>
                <c:pt idx="125">
                  <c:v>39.157735750546578</c:v>
                </c:pt>
                <c:pt idx="126">
                  <c:v>40.400838472786155</c:v>
                </c:pt>
                <c:pt idx="127">
                  <c:v>41.177777674185883</c:v>
                </c:pt>
                <c:pt idx="128">
                  <c:v>41.799329035305675</c:v>
                </c:pt>
                <c:pt idx="129">
                  <c:v>42.42088039642546</c:v>
                </c:pt>
                <c:pt idx="130">
                  <c:v>43.353207438105137</c:v>
                </c:pt>
                <c:pt idx="131">
                  <c:v>44.285534479784815</c:v>
                </c:pt>
                <c:pt idx="132">
                  <c:v>45.217861521464499</c:v>
                </c:pt>
                <c:pt idx="133">
                  <c:v>46.150188563144177</c:v>
                </c:pt>
                <c:pt idx="134">
                  <c:v>46.927127764543911</c:v>
                </c:pt>
                <c:pt idx="135">
                  <c:v>47.859454806223596</c:v>
                </c:pt>
                <c:pt idx="136">
                  <c:v>48.947169688183216</c:v>
                </c:pt>
                <c:pt idx="137">
                  <c:v>50.034884570142843</c:v>
                </c:pt>
                <c:pt idx="138">
                  <c:v>51.122599452102477</c:v>
                </c:pt>
                <c:pt idx="139">
                  <c:v>52.210314334062105</c:v>
                </c:pt>
                <c:pt idx="140">
                  <c:v>53.298029216021732</c:v>
                </c:pt>
                <c:pt idx="141">
                  <c:v>54.385744097981359</c:v>
                </c:pt>
                <c:pt idx="142">
                  <c:v>55.473458979940979</c:v>
                </c:pt>
                <c:pt idx="143">
                  <c:v>56.561173861900606</c:v>
                </c:pt>
                <c:pt idx="144">
                  <c:v>57.64888874386024</c:v>
                </c:pt>
                <c:pt idx="145">
                  <c:v>58.736603625819868</c:v>
                </c:pt>
                <c:pt idx="146">
                  <c:v>59.824318507779495</c:v>
                </c:pt>
                <c:pt idx="147">
                  <c:v>61.067421230019065</c:v>
                </c:pt>
                <c:pt idx="148">
                  <c:v>62.310523952258642</c:v>
                </c:pt>
                <c:pt idx="149">
                  <c:v>63.553626674498211</c:v>
                </c:pt>
                <c:pt idx="150">
                  <c:v>64.796729396737788</c:v>
                </c:pt>
                <c:pt idx="151">
                  <c:v>66.195219959257315</c:v>
                </c:pt>
                <c:pt idx="152">
                  <c:v>67.593710521776828</c:v>
                </c:pt>
                <c:pt idx="153">
                  <c:v>68.992201084296354</c:v>
                </c:pt>
                <c:pt idx="154">
                  <c:v>70.235303806535924</c:v>
                </c:pt>
                <c:pt idx="155">
                  <c:v>71.633794369055451</c:v>
                </c:pt>
                <c:pt idx="156">
                  <c:v>73.032284931574964</c:v>
                </c:pt>
                <c:pt idx="157">
                  <c:v>74.43077549409449</c:v>
                </c:pt>
                <c:pt idx="158">
                  <c:v>75.829266056614003</c:v>
                </c:pt>
                <c:pt idx="159">
                  <c:v>77.22775661913353</c:v>
                </c:pt>
                <c:pt idx="160">
                  <c:v>78.781635021932999</c:v>
                </c:pt>
                <c:pt idx="161">
                  <c:v>80.335513424732454</c:v>
                </c:pt>
                <c:pt idx="162">
                  <c:v>81.889391827531924</c:v>
                </c:pt>
                <c:pt idx="163">
                  <c:v>83.443270230331393</c:v>
                </c:pt>
                <c:pt idx="164">
                  <c:v>85.152536473410805</c:v>
                </c:pt>
                <c:pt idx="165">
                  <c:v>86.706414876210275</c:v>
                </c:pt>
                <c:pt idx="166">
                  <c:v>88.415681119289687</c:v>
                </c:pt>
                <c:pt idx="167">
                  <c:v>90.1249473623691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31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24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B$155:$B$322</c:f>
              <c:numCache>
                <c:formatCode>0</c:formatCode>
                <c:ptCount val="168"/>
                <c:pt idx="0">
                  <c:v>512</c:v>
                </c:pt>
                <c:pt idx="1">
                  <c:v>651</c:v>
                </c:pt>
                <c:pt idx="2">
                  <c:v>770</c:v>
                </c:pt>
                <c:pt idx="3">
                  <c:v>772</c:v>
                </c:pt>
                <c:pt idx="4">
                  <c:v>750</c:v>
                </c:pt>
                <c:pt idx="5">
                  <c:v>210</c:v>
                </c:pt>
                <c:pt idx="6">
                  <c:v>94</c:v>
                </c:pt>
                <c:pt idx="7">
                  <c:v>620</c:v>
                </c:pt>
                <c:pt idx="8">
                  <c:v>854</c:v>
                </c:pt>
                <c:pt idx="9">
                  <c:v>689</c:v>
                </c:pt>
                <c:pt idx="10">
                  <c:v>801</c:v>
                </c:pt>
                <c:pt idx="11">
                  <c:v>847</c:v>
                </c:pt>
                <c:pt idx="12">
                  <c:v>312</c:v>
                </c:pt>
                <c:pt idx="13">
                  <c:v>152</c:v>
                </c:pt>
                <c:pt idx="14">
                  <c:v>791</c:v>
                </c:pt>
                <c:pt idx="15">
                  <c:v>1122</c:v>
                </c:pt>
                <c:pt idx="16">
                  <c:v>1040</c:v>
                </c:pt>
                <c:pt idx="17">
                  <c:v>1102</c:v>
                </c:pt>
                <c:pt idx="18">
                  <c:v>1187</c:v>
                </c:pt>
                <c:pt idx="19">
                  <c:v>475</c:v>
                </c:pt>
                <c:pt idx="20">
                  <c:v>261</c:v>
                </c:pt>
                <c:pt idx="21">
                  <c:v>980</c:v>
                </c:pt>
                <c:pt idx="22">
                  <c:v>1545</c:v>
                </c:pt>
                <c:pt idx="23">
                  <c:v>1446</c:v>
                </c:pt>
                <c:pt idx="24">
                  <c:v>1286</c:v>
                </c:pt>
                <c:pt idx="25">
                  <c:v>1520</c:v>
                </c:pt>
                <c:pt idx="26">
                  <c:v>496</c:v>
                </c:pt>
                <c:pt idx="27">
                  <c:v>207</c:v>
                </c:pt>
                <c:pt idx="28">
                  <c:v>1008</c:v>
                </c:pt>
                <c:pt idx="29">
                  <c:v>1593</c:v>
                </c:pt>
                <c:pt idx="30">
                  <c:v>1271</c:v>
                </c:pt>
                <c:pt idx="31">
                  <c:v>1171</c:v>
                </c:pt>
                <c:pt idx="32">
                  <c:v>1248</c:v>
                </c:pt>
                <c:pt idx="33">
                  <c:v>445</c:v>
                </c:pt>
                <c:pt idx="34">
                  <c:v>174</c:v>
                </c:pt>
                <c:pt idx="35">
                  <c:v>796</c:v>
                </c:pt>
                <c:pt idx="36">
                  <c:v>1363</c:v>
                </c:pt>
                <c:pt idx="37">
                  <c:v>1231</c:v>
                </c:pt>
                <c:pt idx="38">
                  <c:v>824</c:v>
                </c:pt>
                <c:pt idx="39">
                  <c:v>1066</c:v>
                </c:pt>
                <c:pt idx="40">
                  <c:v>245</c:v>
                </c:pt>
                <c:pt idx="41">
                  <c:v>316</c:v>
                </c:pt>
                <c:pt idx="42">
                  <c:v>672</c:v>
                </c:pt>
                <c:pt idx="43">
                  <c:v>1071</c:v>
                </c:pt>
                <c:pt idx="44">
                  <c:v>800</c:v>
                </c:pt>
                <c:pt idx="45">
                  <c:v>679</c:v>
                </c:pt>
                <c:pt idx="46">
                  <c:v>637</c:v>
                </c:pt>
                <c:pt idx="47">
                  <c:v>198</c:v>
                </c:pt>
                <c:pt idx="48">
                  <c:v>154</c:v>
                </c:pt>
                <c:pt idx="49">
                  <c:v>480</c:v>
                </c:pt>
                <c:pt idx="50">
                  <c:v>545</c:v>
                </c:pt>
                <c:pt idx="51">
                  <c:v>565</c:v>
                </c:pt>
                <c:pt idx="52">
                  <c:v>375</c:v>
                </c:pt>
                <c:pt idx="53">
                  <c:v>478</c:v>
                </c:pt>
                <c:pt idx="54">
                  <c:v>120</c:v>
                </c:pt>
                <c:pt idx="55">
                  <c:v>84</c:v>
                </c:pt>
                <c:pt idx="56">
                  <c:v>347</c:v>
                </c:pt>
                <c:pt idx="57">
                  <c:v>389</c:v>
                </c:pt>
                <c:pt idx="58">
                  <c:v>358</c:v>
                </c:pt>
                <c:pt idx="59">
                  <c:v>320</c:v>
                </c:pt>
                <c:pt idx="60">
                  <c:v>161</c:v>
                </c:pt>
                <c:pt idx="61">
                  <c:v>47</c:v>
                </c:pt>
                <c:pt idx="62">
                  <c:v>74</c:v>
                </c:pt>
                <c:pt idx="63">
                  <c:v>32</c:v>
                </c:pt>
                <c:pt idx="64">
                  <c:v>260</c:v>
                </c:pt>
                <c:pt idx="65">
                  <c:v>276</c:v>
                </c:pt>
                <c:pt idx="66">
                  <c:v>206</c:v>
                </c:pt>
                <c:pt idx="67">
                  <c:v>193</c:v>
                </c:pt>
                <c:pt idx="68">
                  <c:v>58</c:v>
                </c:pt>
                <c:pt idx="69">
                  <c:v>34</c:v>
                </c:pt>
                <c:pt idx="70">
                  <c:v>185</c:v>
                </c:pt>
                <c:pt idx="71">
                  <c:v>156</c:v>
                </c:pt>
                <c:pt idx="72">
                  <c:v>92</c:v>
                </c:pt>
                <c:pt idx="73">
                  <c:v>100</c:v>
                </c:pt>
                <c:pt idx="74">
                  <c:v>129</c:v>
                </c:pt>
                <c:pt idx="75">
                  <c:v>40</c:v>
                </c:pt>
                <c:pt idx="76">
                  <c:v>21</c:v>
                </c:pt>
                <c:pt idx="77">
                  <c:v>133</c:v>
                </c:pt>
                <c:pt idx="78">
                  <c:v>128</c:v>
                </c:pt>
                <c:pt idx="79">
                  <c:v>106</c:v>
                </c:pt>
                <c:pt idx="80">
                  <c:v>80</c:v>
                </c:pt>
                <c:pt idx="81">
                  <c:v>93</c:v>
                </c:pt>
                <c:pt idx="82">
                  <c:v>48</c:v>
                </c:pt>
                <c:pt idx="83">
                  <c:v>20</c:v>
                </c:pt>
                <c:pt idx="84">
                  <c:v>125</c:v>
                </c:pt>
                <c:pt idx="85">
                  <c:v>109</c:v>
                </c:pt>
                <c:pt idx="86">
                  <c:v>106</c:v>
                </c:pt>
                <c:pt idx="87">
                  <c:v>66</c:v>
                </c:pt>
                <c:pt idx="88">
                  <c:v>74</c:v>
                </c:pt>
                <c:pt idx="89">
                  <c:v>34</c:v>
                </c:pt>
                <c:pt idx="90">
                  <c:v>12</c:v>
                </c:pt>
                <c:pt idx="91">
                  <c:v>54</c:v>
                </c:pt>
                <c:pt idx="92">
                  <c:v>101</c:v>
                </c:pt>
                <c:pt idx="93">
                  <c:v>65</c:v>
                </c:pt>
                <c:pt idx="94">
                  <c:v>58</c:v>
                </c:pt>
                <c:pt idx="95">
                  <c:v>66</c:v>
                </c:pt>
                <c:pt idx="96">
                  <c:v>11</c:v>
                </c:pt>
                <c:pt idx="97">
                  <c:v>19</c:v>
                </c:pt>
                <c:pt idx="98">
                  <c:v>55</c:v>
                </c:pt>
                <c:pt idx="99">
                  <c:v>44</c:v>
                </c:pt>
                <c:pt idx="100">
                  <c:v>43</c:v>
                </c:pt>
                <c:pt idx="101">
                  <c:v>33</c:v>
                </c:pt>
                <c:pt idx="102">
                  <c:v>31</c:v>
                </c:pt>
                <c:pt idx="103">
                  <c:v>9</c:v>
                </c:pt>
                <c:pt idx="104">
                  <c:v>9</c:v>
                </c:pt>
                <c:pt idx="105">
                  <c:v>49</c:v>
                </c:pt>
                <c:pt idx="106">
                  <c:v>41</c:v>
                </c:pt>
                <c:pt idx="107">
                  <c:v>29</c:v>
                </c:pt>
                <c:pt idx="108">
                  <c:v>29</c:v>
                </c:pt>
                <c:pt idx="109">
                  <c:v>25</c:v>
                </c:pt>
                <c:pt idx="110">
                  <c:v>8</c:v>
                </c:pt>
                <c:pt idx="111">
                  <c:v>10</c:v>
                </c:pt>
                <c:pt idx="112">
                  <c:v>42</c:v>
                </c:pt>
                <c:pt idx="113">
                  <c:v>35</c:v>
                </c:pt>
                <c:pt idx="114">
                  <c:v>20</c:v>
                </c:pt>
                <c:pt idx="115">
                  <c:v>25</c:v>
                </c:pt>
                <c:pt idx="116">
                  <c:v>23</c:v>
                </c:pt>
                <c:pt idx="117">
                  <c:v>9</c:v>
                </c:pt>
                <c:pt idx="118">
                  <c:v>1</c:v>
                </c:pt>
                <c:pt idx="119">
                  <c:v>26</c:v>
                </c:pt>
                <c:pt idx="120">
                  <c:v>37</c:v>
                </c:pt>
                <c:pt idx="121">
                  <c:v>17</c:v>
                </c:pt>
                <c:pt idx="122">
                  <c:v>24</c:v>
                </c:pt>
                <c:pt idx="123">
                  <c:v>28</c:v>
                </c:pt>
                <c:pt idx="124">
                  <c:v>5</c:v>
                </c:pt>
                <c:pt idx="125">
                  <c:v>6</c:v>
                </c:pt>
                <c:pt idx="126">
                  <c:v>23</c:v>
                </c:pt>
                <c:pt idx="127">
                  <c:v>24</c:v>
                </c:pt>
                <c:pt idx="128">
                  <c:v>21</c:v>
                </c:pt>
                <c:pt idx="129">
                  <c:v>11</c:v>
                </c:pt>
                <c:pt idx="130">
                  <c:v>16</c:v>
                </c:pt>
                <c:pt idx="131">
                  <c:v>1</c:v>
                </c:pt>
                <c:pt idx="132">
                  <c:v>0</c:v>
                </c:pt>
                <c:pt idx="133">
                  <c:v>11</c:v>
                </c:pt>
                <c:pt idx="134">
                  <c:v>16</c:v>
                </c:pt>
                <c:pt idx="135">
                  <c:v>6</c:v>
                </c:pt>
                <c:pt idx="136">
                  <c:v>6</c:v>
                </c:pt>
                <c:pt idx="137">
                  <c:v>9</c:v>
                </c:pt>
                <c:pt idx="138">
                  <c:v>2</c:v>
                </c:pt>
                <c:pt idx="139">
                  <c:v>0</c:v>
                </c:pt>
                <c:pt idx="140">
                  <c:v>7</c:v>
                </c:pt>
                <c:pt idx="141">
                  <c:v>1</c:v>
                </c:pt>
                <c:pt idx="142">
                  <c:v>3</c:v>
                </c:pt>
                <c:pt idx="143">
                  <c:v>2</c:v>
                </c:pt>
                <c:pt idx="144">
                  <c:v>5</c:v>
                </c:pt>
                <c:pt idx="145">
                  <c:v>1</c:v>
                </c:pt>
                <c:pt idx="146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C$155:$C$322</c:f>
              <c:numCache>
                <c:formatCode>General</c:formatCode>
                <c:ptCount val="16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14A-45E8-87A1-7BD2345ADB4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70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D$155:$D$322</c:f>
              <c:numCache>
                <c:formatCode>General</c:formatCode>
                <c:ptCount val="168"/>
                <c:pt idx="119">
                  <c:v>17</c:v>
                </c:pt>
                <c:pt idx="120">
                  <c:v>16</c:v>
                </c:pt>
                <c:pt idx="121">
                  <c:v>15</c:v>
                </c:pt>
                <c:pt idx="122">
                  <c:v>14</c:v>
                </c:pt>
                <c:pt idx="123">
                  <c:v>13</c:v>
                </c:pt>
                <c:pt idx="124">
                  <c:v>12</c:v>
                </c:pt>
                <c:pt idx="125">
                  <c:v>12</c:v>
                </c:pt>
                <c:pt idx="126">
                  <c:v>11</c:v>
                </c:pt>
                <c:pt idx="127">
                  <c:v>11</c:v>
                </c:pt>
                <c:pt idx="128">
                  <c:v>10</c:v>
                </c:pt>
                <c:pt idx="129">
                  <c:v>9</c:v>
                </c:pt>
                <c:pt idx="130">
                  <c:v>9</c:v>
                </c:pt>
                <c:pt idx="131">
                  <c:v>8</c:v>
                </c:pt>
                <c:pt idx="132">
                  <c:v>8</c:v>
                </c:pt>
                <c:pt idx="133">
                  <c:v>8</c:v>
                </c:pt>
                <c:pt idx="134">
                  <c:v>7</c:v>
                </c:pt>
                <c:pt idx="135">
                  <c:v>7</c:v>
                </c:pt>
                <c:pt idx="136">
                  <c:v>6</c:v>
                </c:pt>
                <c:pt idx="137">
                  <c:v>6</c:v>
                </c:pt>
                <c:pt idx="138">
                  <c:v>6</c:v>
                </c:pt>
                <c:pt idx="139">
                  <c:v>6</c:v>
                </c:pt>
                <c:pt idx="140">
                  <c:v>5</c:v>
                </c:pt>
                <c:pt idx="141">
                  <c:v>5</c:v>
                </c:pt>
                <c:pt idx="142">
                  <c:v>5</c:v>
                </c:pt>
                <c:pt idx="143">
                  <c:v>5</c:v>
                </c:pt>
                <c:pt idx="144">
                  <c:v>4</c:v>
                </c:pt>
                <c:pt idx="145">
                  <c:v>4</c:v>
                </c:pt>
                <c:pt idx="146">
                  <c:v>4</c:v>
                </c:pt>
                <c:pt idx="147">
                  <c:v>4</c:v>
                </c:pt>
                <c:pt idx="148">
                  <c:v>4</c:v>
                </c:pt>
                <c:pt idx="149">
                  <c:v>4</c:v>
                </c:pt>
                <c:pt idx="150">
                  <c:v>3</c:v>
                </c:pt>
                <c:pt idx="151">
                  <c:v>3</c:v>
                </c:pt>
                <c:pt idx="152">
                  <c:v>3</c:v>
                </c:pt>
                <c:pt idx="153">
                  <c:v>3</c:v>
                </c:pt>
                <c:pt idx="154">
                  <c:v>3</c:v>
                </c:pt>
                <c:pt idx="155">
                  <c:v>3</c:v>
                </c:pt>
                <c:pt idx="156">
                  <c:v>3</c:v>
                </c:pt>
                <c:pt idx="157">
                  <c:v>3</c:v>
                </c:pt>
                <c:pt idx="158">
                  <c:v>3</c:v>
                </c:pt>
                <c:pt idx="159">
                  <c:v>3</c:v>
                </c:pt>
                <c:pt idx="160">
                  <c:v>2</c:v>
                </c:pt>
                <c:pt idx="161">
                  <c:v>2</c:v>
                </c:pt>
                <c:pt idx="162">
                  <c:v>2</c:v>
                </c:pt>
                <c:pt idx="163">
                  <c:v>2</c:v>
                </c:pt>
                <c:pt idx="164">
                  <c:v>2</c:v>
                </c:pt>
                <c:pt idx="165">
                  <c:v>2</c:v>
                </c:pt>
                <c:pt idx="166">
                  <c:v>2</c:v>
                </c:pt>
                <c:pt idx="167">
                  <c:v>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14A-45E8-87A1-7BD2345ADB46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0,90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F$155:$F$322</c:f>
              <c:numCache>
                <c:formatCode>General</c:formatCode>
                <c:ptCount val="168"/>
                <c:pt idx="119">
                  <c:v>17</c:v>
                </c:pt>
                <c:pt idx="120">
                  <c:v>17</c:v>
                </c:pt>
                <c:pt idx="121">
                  <c:v>17</c:v>
                </c:pt>
                <c:pt idx="122">
                  <c:v>17</c:v>
                </c:pt>
                <c:pt idx="123">
                  <c:v>16</c:v>
                </c:pt>
                <c:pt idx="124">
                  <c:v>16</c:v>
                </c:pt>
                <c:pt idx="125">
                  <c:v>16</c:v>
                </c:pt>
                <c:pt idx="126">
                  <c:v>16</c:v>
                </c:pt>
                <c:pt idx="127">
                  <c:v>16</c:v>
                </c:pt>
                <c:pt idx="128">
                  <c:v>15</c:v>
                </c:pt>
                <c:pt idx="129">
                  <c:v>15</c:v>
                </c:pt>
                <c:pt idx="130">
                  <c:v>15</c:v>
                </c:pt>
                <c:pt idx="131">
                  <c:v>15</c:v>
                </c:pt>
                <c:pt idx="132">
                  <c:v>14</c:v>
                </c:pt>
                <c:pt idx="133">
                  <c:v>14</c:v>
                </c:pt>
                <c:pt idx="134">
                  <c:v>14</c:v>
                </c:pt>
                <c:pt idx="135">
                  <c:v>14</c:v>
                </c:pt>
                <c:pt idx="136">
                  <c:v>14</c:v>
                </c:pt>
                <c:pt idx="137">
                  <c:v>13</c:v>
                </c:pt>
                <c:pt idx="138">
                  <c:v>13</c:v>
                </c:pt>
                <c:pt idx="139">
                  <c:v>13</c:v>
                </c:pt>
                <c:pt idx="140">
                  <c:v>13</c:v>
                </c:pt>
                <c:pt idx="141">
                  <c:v>13</c:v>
                </c:pt>
                <c:pt idx="142">
                  <c:v>13</c:v>
                </c:pt>
                <c:pt idx="143">
                  <c:v>12</c:v>
                </c:pt>
                <c:pt idx="144">
                  <c:v>12</c:v>
                </c:pt>
                <c:pt idx="145">
                  <c:v>12</c:v>
                </c:pt>
                <c:pt idx="146">
                  <c:v>12</c:v>
                </c:pt>
                <c:pt idx="147">
                  <c:v>12</c:v>
                </c:pt>
                <c:pt idx="148">
                  <c:v>12</c:v>
                </c:pt>
                <c:pt idx="149">
                  <c:v>12</c:v>
                </c:pt>
                <c:pt idx="150">
                  <c:v>11</c:v>
                </c:pt>
                <c:pt idx="151">
                  <c:v>11</c:v>
                </c:pt>
                <c:pt idx="152">
                  <c:v>11</c:v>
                </c:pt>
                <c:pt idx="153">
                  <c:v>11</c:v>
                </c:pt>
                <c:pt idx="154">
                  <c:v>11</c:v>
                </c:pt>
                <c:pt idx="155">
                  <c:v>11</c:v>
                </c:pt>
                <c:pt idx="156">
                  <c:v>11</c:v>
                </c:pt>
                <c:pt idx="157">
                  <c:v>11</c:v>
                </c:pt>
                <c:pt idx="158">
                  <c:v>10</c:v>
                </c:pt>
                <c:pt idx="159">
                  <c:v>10</c:v>
                </c:pt>
                <c:pt idx="160">
                  <c:v>10</c:v>
                </c:pt>
                <c:pt idx="161">
                  <c:v>10</c:v>
                </c:pt>
                <c:pt idx="162">
                  <c:v>10</c:v>
                </c:pt>
                <c:pt idx="163">
                  <c:v>10</c:v>
                </c:pt>
                <c:pt idx="164">
                  <c:v>10</c:v>
                </c:pt>
                <c:pt idx="165">
                  <c:v>10</c:v>
                </c:pt>
                <c:pt idx="166">
                  <c:v>10</c:v>
                </c:pt>
                <c:pt idx="167">
                  <c:v>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14A-45E8-87A1-7BD2345ADB46}"/>
            </c:ext>
          </c:extLst>
        </c:ser>
        <c:ser>
          <c:idx val="5"/>
          <c:order val="4"/>
          <c:tx>
            <c:strRef>
              <c:f>Sheet1!$G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G$155:$G$322</c:f>
              <c:numCache>
                <c:formatCode>General</c:formatCode>
                <c:ptCount val="168"/>
                <c:pt idx="119">
                  <c:v>17</c:v>
                </c:pt>
                <c:pt idx="120">
                  <c:v>19</c:v>
                </c:pt>
                <c:pt idx="121">
                  <c:v>20</c:v>
                </c:pt>
                <c:pt idx="122">
                  <c:v>20</c:v>
                </c:pt>
                <c:pt idx="123">
                  <c:v>19</c:v>
                </c:pt>
                <c:pt idx="124">
                  <c:v>20</c:v>
                </c:pt>
                <c:pt idx="125">
                  <c:v>20</c:v>
                </c:pt>
                <c:pt idx="126">
                  <c:v>21</c:v>
                </c:pt>
                <c:pt idx="127">
                  <c:v>22</c:v>
                </c:pt>
                <c:pt idx="128">
                  <c:v>22</c:v>
                </c:pt>
                <c:pt idx="129">
                  <c:v>22</c:v>
                </c:pt>
                <c:pt idx="130">
                  <c:v>22</c:v>
                </c:pt>
                <c:pt idx="131">
                  <c:v>23</c:v>
                </c:pt>
                <c:pt idx="132">
                  <c:v>24</c:v>
                </c:pt>
                <c:pt idx="133">
                  <c:v>24</c:v>
                </c:pt>
                <c:pt idx="134">
                  <c:v>25</c:v>
                </c:pt>
                <c:pt idx="135">
                  <c:v>25</c:v>
                </c:pt>
                <c:pt idx="136">
                  <c:v>26</c:v>
                </c:pt>
                <c:pt idx="137">
                  <c:v>26</c:v>
                </c:pt>
                <c:pt idx="138">
                  <c:v>27</c:v>
                </c:pt>
                <c:pt idx="139">
                  <c:v>27</c:v>
                </c:pt>
                <c:pt idx="140">
                  <c:v>28</c:v>
                </c:pt>
                <c:pt idx="141">
                  <c:v>28</c:v>
                </c:pt>
                <c:pt idx="142">
                  <c:v>29</c:v>
                </c:pt>
                <c:pt idx="143">
                  <c:v>30</c:v>
                </c:pt>
                <c:pt idx="144">
                  <c:v>30</c:v>
                </c:pt>
                <c:pt idx="145">
                  <c:v>31</c:v>
                </c:pt>
                <c:pt idx="146">
                  <c:v>31</c:v>
                </c:pt>
                <c:pt idx="147">
                  <c:v>32</c:v>
                </c:pt>
                <c:pt idx="148">
                  <c:v>33</c:v>
                </c:pt>
                <c:pt idx="149">
                  <c:v>33</c:v>
                </c:pt>
                <c:pt idx="150">
                  <c:v>34</c:v>
                </c:pt>
                <c:pt idx="151">
                  <c:v>35</c:v>
                </c:pt>
                <c:pt idx="152">
                  <c:v>35</c:v>
                </c:pt>
                <c:pt idx="153">
                  <c:v>36</c:v>
                </c:pt>
                <c:pt idx="154">
                  <c:v>37</c:v>
                </c:pt>
                <c:pt idx="155">
                  <c:v>37</c:v>
                </c:pt>
                <c:pt idx="156">
                  <c:v>38</c:v>
                </c:pt>
                <c:pt idx="157">
                  <c:v>39</c:v>
                </c:pt>
                <c:pt idx="158">
                  <c:v>40</c:v>
                </c:pt>
                <c:pt idx="159">
                  <c:v>40</c:v>
                </c:pt>
                <c:pt idx="160">
                  <c:v>41</c:v>
                </c:pt>
                <c:pt idx="161">
                  <c:v>42</c:v>
                </c:pt>
                <c:pt idx="162">
                  <c:v>43</c:v>
                </c:pt>
                <c:pt idx="163">
                  <c:v>44</c:v>
                </c:pt>
                <c:pt idx="164">
                  <c:v>44</c:v>
                </c:pt>
                <c:pt idx="165">
                  <c:v>45</c:v>
                </c:pt>
                <c:pt idx="166">
                  <c:v>46</c:v>
                </c:pt>
                <c:pt idx="167">
                  <c:v>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31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15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1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28.06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12.tmp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8.06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654246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46280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42620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9297738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79761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9" r:id="rId3"/>
    <p:sldLayoutId id="2147483657" r:id="rId4"/>
    <p:sldLayoutId id="2147483662" r:id="rId5"/>
    <p:sldLayoutId id="2147483661" r:id="rId6"/>
    <p:sldLayoutId id="2147483660" r:id="rId7"/>
    <p:sldLayoutId id="2147483658" r:id="rId8"/>
    <p:sldLayoutId id="2147483663" r:id="rId9"/>
    <p:sldLayoutId id="2147483664" r:id="rId1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5.tif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tiff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5.tif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7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7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9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9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1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chart" Target="../charts/chart12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1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3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chart" Target="../charts/chart14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3.e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chart" Target="../charts/chart15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5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chart" Target="../charts/chart16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5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gif"/><Relationship Id="rId2" Type="http://schemas.openxmlformats.org/officeDocument/2006/relationships/chart" Target="../charts/chart17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7.jpe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gif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gif"/><Relationship Id="rId2" Type="http://schemas.openxmlformats.org/officeDocument/2006/relationships/chart" Target="../charts/chart18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7.jpe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emf"/><Relationship Id="rId2" Type="http://schemas.openxmlformats.org/officeDocument/2006/relationships/chart" Target="../charts/chart19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9.emf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emf"/><Relationship Id="rId2" Type="http://schemas.openxmlformats.org/officeDocument/2006/relationships/image" Target="../media/image28.emf"/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emf"/><Relationship Id="rId2" Type="http://schemas.openxmlformats.org/officeDocument/2006/relationships/chart" Target="../charts/chart20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9.emf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chart" Target="../charts/chart21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1.jpe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5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chart" Target="../charts/chart22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1.jpe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chart" Target="../charts/chart23.xml"/><Relationship Id="rId1" Type="http://schemas.openxmlformats.org/officeDocument/2006/relationships/slideLayout" Target="../slideLayouts/slideLayout5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5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chart" Target="../charts/chart24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chart" Target="../charts/chart25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4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5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chart" Target="../charts/chart26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4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gif"/><Relationship Id="rId2" Type="http://schemas.openxmlformats.org/officeDocument/2006/relationships/chart" Target="../charts/chart27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6.jp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g"/><Relationship Id="rId2" Type="http://schemas.openxmlformats.org/officeDocument/2006/relationships/image" Target="../media/image35.gif"/><Relationship Id="rId1" Type="http://schemas.openxmlformats.org/officeDocument/2006/relationships/slideLayout" Target="../slideLayouts/slideLayout5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gif"/><Relationship Id="rId2" Type="http://schemas.openxmlformats.org/officeDocument/2006/relationships/chart" Target="../charts/chart28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6.jp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chart" Target="../charts/chart29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8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5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chart" Target="../charts/chart30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8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gif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gif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gif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dirty="0"/>
              <a:t>Stav a vývoj epidemie COVID-19 </a:t>
            </a:r>
            <a:br>
              <a:rPr lang="cs-CZ" dirty="0"/>
            </a:br>
            <a:r>
              <a:rPr lang="cs-CZ" dirty="0"/>
              <a:t>v dostupných datech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04925" y="3693109"/>
            <a:ext cx="9867900" cy="2250491"/>
          </a:xfrm>
        </p:spPr>
        <p:txBody>
          <a:bodyPr>
            <a:normAutofit/>
          </a:bodyPr>
          <a:lstStyle/>
          <a:p>
            <a:r>
              <a:rPr lang="cs-CZ" sz="4800" b="1" dirty="0"/>
              <a:t>Krátkodobé populační predikce</a:t>
            </a:r>
            <a:endParaRPr lang="en-US" sz="4800" b="1" dirty="0"/>
          </a:p>
          <a:p>
            <a:r>
              <a:rPr lang="en-US" sz="3200" b="1" i="1" dirty="0">
                <a:solidFill>
                  <a:srgbClr val="C00000"/>
                </a:solidFill>
              </a:rPr>
              <a:t>- </a:t>
            </a:r>
            <a:r>
              <a:rPr lang="cs-CZ" sz="3200" b="1" i="1" dirty="0">
                <a:solidFill>
                  <a:srgbClr val="C00000"/>
                </a:solidFill>
              </a:rPr>
              <a:t>aktualizace 28. 6. 2021 -</a:t>
            </a:r>
            <a:endParaRPr lang="cs-CZ" sz="3200" b="1" dirty="0"/>
          </a:p>
        </p:txBody>
      </p:sp>
    </p:spTree>
    <p:extLst>
      <p:ext uri="{BB962C8B-B14F-4D97-AF65-F5344CB8AC3E}">
        <p14:creationId xmlns:p14="http://schemas.microsoft.com/office/powerpoint/2010/main" val="385632587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B1276870-99EE-4D94-8977-D4A2442A6BF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511037"/>
              </p:ext>
            </p:extLst>
          </p:nvPr>
        </p:nvGraphicFramePr>
        <p:xfrm>
          <a:off x="556549" y="3273786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399F9D63-C378-4018-B97A-C6FF1B38BBF2}"/>
              </a:ext>
            </a:extLst>
          </p:cNvPr>
          <p:cNvSpPr txBox="1"/>
          <p:nvPr/>
        </p:nvSpPr>
        <p:spPr>
          <a:xfrm>
            <a:off x="214075" y="1050497"/>
            <a:ext cx="38671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 dle hodnoty reprodukčního čísla 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69B8FCCD-AB42-495D-8900-E0EDAF4D3695}"/>
              </a:ext>
            </a:extLst>
          </p:cNvPr>
          <p:cNvSpPr txBox="1"/>
          <p:nvPr/>
        </p:nvSpPr>
        <p:spPr>
          <a:xfrm>
            <a:off x="4792918" y="638978"/>
            <a:ext cx="5031486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vý scénář (R = 1,10)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915432FB-02C6-4A48-823E-AAFFD38F04CD}"/>
              </a:ext>
            </a:extLst>
          </p:cNvPr>
          <p:cNvSpPr txBox="1"/>
          <p:nvPr/>
        </p:nvSpPr>
        <p:spPr>
          <a:xfrm>
            <a:off x="4792918" y="1947883"/>
            <a:ext cx="5031486" cy="369332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zpomalení (R = 0,70)</a:t>
            </a:r>
          </a:p>
        </p:txBody>
      </p:sp>
      <p:cxnSp>
        <p:nvCxnSpPr>
          <p:cNvPr id="10" name="Přímá spojnice se šipkou 9">
            <a:extLst>
              <a:ext uri="{FF2B5EF4-FFF2-40B4-BE49-F238E27FC236}">
                <a16:creationId xmlns:a16="http://schemas.microsoft.com/office/drawing/2014/main" id="{2FBBF0DE-751C-4A8D-9688-745F518DEA63}"/>
              </a:ext>
            </a:extLst>
          </p:cNvPr>
          <p:cNvCxnSpPr/>
          <p:nvPr/>
        </p:nvCxnSpPr>
        <p:spPr>
          <a:xfrm flipV="1">
            <a:off x="4154743" y="864532"/>
            <a:ext cx="523875" cy="56949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Přímá spojnice se šipkou 10">
            <a:extLst>
              <a:ext uri="{FF2B5EF4-FFF2-40B4-BE49-F238E27FC236}">
                <a16:creationId xmlns:a16="http://schemas.microsoft.com/office/drawing/2014/main" id="{427BD7B2-178E-45A0-B634-921C0C8A629F}"/>
              </a:ext>
            </a:extLst>
          </p:cNvPr>
          <p:cNvCxnSpPr/>
          <p:nvPr/>
        </p:nvCxnSpPr>
        <p:spPr>
          <a:xfrm>
            <a:off x="4154743" y="1503447"/>
            <a:ext cx="523875" cy="64073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6">
            <a:extLst>
              <a:ext uri="{FF2B5EF4-FFF2-40B4-BE49-F238E27FC236}">
                <a16:creationId xmlns:a16="http://schemas.microsoft.com/office/drawing/2014/main" id="{69CEF138-18A8-4271-9FEF-402DB7C25B86}"/>
              </a:ext>
            </a:extLst>
          </p:cNvPr>
          <p:cNvSpPr txBox="1"/>
          <p:nvPr/>
        </p:nvSpPr>
        <p:spPr>
          <a:xfrm>
            <a:off x="489851" y="2893021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D297EC6B-32AF-493A-B2A7-B285C8CEF178}"/>
              </a:ext>
            </a:extLst>
          </p:cNvPr>
          <p:cNvSpPr txBox="1"/>
          <p:nvPr/>
        </p:nvSpPr>
        <p:spPr>
          <a:xfrm>
            <a:off x="4475378" y="2789253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10</a:t>
            </a: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3C9B186B-8163-428B-A364-E90D3144B57D}"/>
              </a:ext>
            </a:extLst>
          </p:cNvPr>
          <p:cNvSpPr/>
          <p:nvPr/>
        </p:nvSpPr>
        <p:spPr>
          <a:xfrm>
            <a:off x="7952761" y="2841929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35669B2F-D612-4664-B709-53D98132D57A}"/>
              </a:ext>
            </a:extLst>
          </p:cNvPr>
          <p:cNvSpPr txBox="1"/>
          <p:nvPr/>
        </p:nvSpPr>
        <p:spPr>
          <a:xfrm>
            <a:off x="8249942" y="2790122"/>
            <a:ext cx="15734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9" name="Přímá spojnice 18">
            <a:extLst>
              <a:ext uri="{FF2B5EF4-FFF2-40B4-BE49-F238E27FC236}">
                <a16:creationId xmlns:a16="http://schemas.microsoft.com/office/drawing/2014/main" id="{76B85254-1A7D-488E-9830-3F99A7742F43}"/>
              </a:ext>
            </a:extLst>
          </p:cNvPr>
          <p:cNvCxnSpPr>
            <a:cxnSpLocks/>
          </p:cNvCxnSpPr>
          <p:nvPr/>
        </p:nvCxnSpPr>
        <p:spPr>
          <a:xfrm>
            <a:off x="4180633" y="2944288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7DE1342D-EB8B-4B07-AF76-9D71853830EC}"/>
              </a:ext>
            </a:extLst>
          </p:cNvPr>
          <p:cNvSpPr txBox="1"/>
          <p:nvPr/>
        </p:nvSpPr>
        <p:spPr>
          <a:xfrm>
            <a:off x="4475378" y="3014473"/>
            <a:ext cx="313540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0	</a:t>
            </a:r>
          </a:p>
        </p:txBody>
      </p: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E4706C2C-C343-4CD4-BC4A-ED6979CFCE85}"/>
              </a:ext>
            </a:extLst>
          </p:cNvPr>
          <p:cNvCxnSpPr>
            <a:cxnSpLocks/>
          </p:cNvCxnSpPr>
          <p:nvPr/>
        </p:nvCxnSpPr>
        <p:spPr>
          <a:xfrm>
            <a:off x="4180633" y="3167595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24">
            <a:extLst>
              <a:ext uri="{FF2B5EF4-FFF2-40B4-BE49-F238E27FC236}">
                <a16:creationId xmlns:a16="http://schemas.microsoft.com/office/drawing/2014/main" id="{E453CAE8-274D-40EB-837F-1DFE06B3FC2E}"/>
              </a:ext>
            </a:extLst>
          </p:cNvPr>
          <p:cNvCxnSpPr>
            <a:cxnSpLocks/>
          </p:cNvCxnSpPr>
          <p:nvPr/>
        </p:nvCxnSpPr>
        <p:spPr>
          <a:xfrm>
            <a:off x="4180633" y="3387705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66CCB7E5-B893-4905-A783-B3A264BEFB90}"/>
              </a:ext>
            </a:extLst>
          </p:cNvPr>
          <p:cNvSpPr txBox="1"/>
          <p:nvPr/>
        </p:nvSpPr>
        <p:spPr>
          <a:xfrm>
            <a:off x="10091064" y="4065325"/>
            <a:ext cx="1544387" cy="83099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8. </a:t>
            </a:r>
            <a:r>
              <a:rPr lang="cs-CZ" sz="1200" b="1" dirty="0">
                <a:solidFill>
                  <a:prstClr val="black"/>
                </a:solidFill>
                <a:latin typeface="Calibri" panose="020F0502020204030204"/>
              </a:rPr>
              <a:t>7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2021</a:t>
            </a: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96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19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4 predikovaných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266137AA-9182-40A3-A142-5179882050AD}"/>
              </a:ext>
            </a:extLst>
          </p:cNvPr>
          <p:cNvSpPr txBox="1"/>
          <p:nvPr/>
        </p:nvSpPr>
        <p:spPr>
          <a:xfrm>
            <a:off x="4467521" y="3238409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7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</a:t>
            </a: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6. 2021, R aplikováno od 24. 5. 2021)</a:t>
            </a: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E32A18E1-478B-49B3-B19F-744DF92D3F6C}"/>
              </a:ext>
            </a:extLst>
          </p:cNvPr>
          <p:cNvSpPr txBox="1"/>
          <p:nvPr/>
        </p:nvSpPr>
        <p:spPr>
          <a:xfrm>
            <a:off x="7780712" y="4294618"/>
            <a:ext cx="1544387" cy="83099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b="1" dirty="0">
                <a:solidFill>
                  <a:prstClr val="black"/>
                </a:solidFill>
                <a:latin typeface="Calibri" panose="020F0502020204030204"/>
              </a:rPr>
              <a:t>30. 6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2021</a:t>
            </a: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68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24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7 predikovaných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22" name="Nadpis 1">
            <a:extLst>
              <a:ext uri="{FF2B5EF4-FFF2-40B4-BE49-F238E27FC236}">
                <a16:creationId xmlns:a16="http://schemas.microsoft.com/office/drawing/2014/main" id="{6518D429-51CE-40C1-89F9-ADE1A20304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ce ve třech scénářích: Středočeský kraj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8B4ECA94-5826-42D2-BAD1-DE3B69CA8FD8}"/>
              </a:ext>
            </a:extLst>
          </p:cNvPr>
          <p:cNvGrpSpPr/>
          <p:nvPr/>
        </p:nvGrpSpPr>
        <p:grpSpPr>
          <a:xfrm>
            <a:off x="10773218" y="654984"/>
            <a:ext cx="1327377" cy="214078"/>
            <a:chOff x="12334307" y="6375531"/>
            <a:chExt cx="2716628" cy="438135"/>
          </a:xfrm>
        </p:grpSpPr>
        <p:pic>
          <p:nvPicPr>
            <p:cNvPr id="30" name="Obrázek 29">
              <a:extLst>
                <a:ext uri="{FF2B5EF4-FFF2-40B4-BE49-F238E27FC236}">
                  <a16:creationId xmlns:a16="http://schemas.microsoft.com/office/drawing/2014/main" id="{7C780A69-D94E-47FF-B50A-DD9CA90BEC3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2334307" y="6375531"/>
              <a:ext cx="338328" cy="438135"/>
            </a:xfrm>
            <a:prstGeom prst="rect">
              <a:avLst/>
            </a:prstGeom>
          </p:spPr>
        </p:pic>
        <p:pic>
          <p:nvPicPr>
            <p:cNvPr id="31" name="Obrázek 30">
              <a:extLst>
                <a:ext uri="{FF2B5EF4-FFF2-40B4-BE49-F238E27FC236}">
                  <a16:creationId xmlns:a16="http://schemas.microsoft.com/office/drawing/2014/main" id="{604E2B7F-2EC1-48AD-8E63-E2935E48829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807607" y="6385202"/>
              <a:ext cx="2243328" cy="396240"/>
            </a:xfrm>
            <a:prstGeom prst="rect">
              <a:avLst/>
            </a:prstGeom>
          </p:spPr>
        </p:pic>
      </p:grp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E89A5552-2582-4B12-9248-F1A8592090B2}"/>
              </a:ext>
            </a:extLst>
          </p:cNvPr>
          <p:cNvSpPr txBox="1"/>
          <p:nvPr/>
        </p:nvSpPr>
        <p:spPr>
          <a:xfrm>
            <a:off x="8249942" y="3001602"/>
            <a:ext cx="194504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pl-PL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 uzavřenému dni 27. 6. 2021</a:t>
            </a: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41333480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ulka 9">
            <a:extLst>
              <a:ext uri="{FF2B5EF4-FFF2-40B4-BE49-F238E27FC236}">
                <a16:creationId xmlns:a16="http://schemas.microsoft.com/office/drawing/2014/main" id="{2CDF3C9D-B366-482C-9DEE-848BF9D72A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8639111"/>
              </p:ext>
            </p:extLst>
          </p:nvPr>
        </p:nvGraphicFramePr>
        <p:xfrm>
          <a:off x="45720" y="1318054"/>
          <a:ext cx="12108951" cy="5019468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18422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3468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93810515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272550134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889585356"/>
                    </a:ext>
                  </a:extLst>
                </a:gridCol>
                <a:gridCol w="1116000">
                  <a:extLst>
                    <a:ext uri="{9D8B030D-6E8A-4147-A177-3AD203B41FA5}">
                      <a16:colId xmlns:a16="http://schemas.microsoft.com/office/drawing/2014/main" val="3083214646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487868241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891010204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340384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264344487"/>
                    </a:ext>
                  </a:extLst>
                </a:gridCol>
                <a:gridCol w="1008000">
                  <a:extLst>
                    <a:ext uri="{9D8B030D-6E8A-4147-A177-3AD203B41FA5}">
                      <a16:colId xmlns:a16="http://schemas.microsoft.com/office/drawing/2014/main" val="13148050"/>
                    </a:ext>
                  </a:extLst>
                </a:gridCol>
                <a:gridCol w="1008000">
                  <a:extLst>
                    <a:ext uri="{9D8B030D-6E8A-4147-A177-3AD203B41FA5}">
                      <a16:colId xmlns:a16="http://schemas.microsoft.com/office/drawing/2014/main" val="1091220691"/>
                    </a:ext>
                  </a:extLst>
                </a:gridCol>
              </a:tblGrid>
              <a:tr h="822960">
                <a:tc>
                  <a:txBody>
                    <a:bodyPr/>
                    <a:lstStyle/>
                    <a:p>
                      <a:pPr algn="l"/>
                      <a:endParaRPr lang="cs-CZ" sz="16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cs-CZ" sz="1600" u="sng" dirty="0"/>
                        <a:t>Predikovaný celkový počet</a:t>
                      </a:r>
                      <a:r>
                        <a:rPr lang="cs-CZ" sz="1600" u="none" dirty="0"/>
                        <a:t> </a:t>
                      </a:r>
                      <a:br>
                        <a:rPr lang="cs-CZ" sz="1600" u="none" dirty="0"/>
                      </a:br>
                      <a:r>
                        <a:rPr lang="cs-CZ" sz="1600" u="none" dirty="0"/>
                        <a:t>N</a:t>
                      </a:r>
                      <a:r>
                        <a:rPr lang="cs-CZ" sz="1600" dirty="0"/>
                        <a:t>ově prokázané nákazy COVID-19</a:t>
                      </a:r>
                      <a:endParaRPr lang="cs-CZ" sz="1600" b="1" dirty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alita: naměřené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odnot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u="sng" dirty="0"/>
                        <a:t>Predikovaný průměrný denní počet</a:t>
                      </a:r>
                      <a:r>
                        <a:rPr lang="cs-CZ" sz="1600" dirty="0"/>
                        <a:t> Nově prokázané nákazy COVID-19</a:t>
                      </a:r>
                      <a:endParaRPr lang="cs-CZ" sz="16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600" b="1" dirty="0"/>
                        <a:t>Realita: naměřené</a:t>
                      </a:r>
                    </a:p>
                    <a:p>
                      <a:pPr algn="ctr"/>
                      <a:r>
                        <a:rPr lang="cs-CZ" sz="1600" b="1" dirty="0"/>
                        <a:t>hodnoty</a:t>
                      </a:r>
                      <a:endParaRPr lang="en-US" sz="16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16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87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odnota R</a:t>
                      </a:r>
                      <a:br>
                        <a:rPr lang="cs-CZ" sz="16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od 24</a:t>
                      </a:r>
                      <a:r>
                        <a:rPr lang="en-US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r>
                        <a:rPr lang="cs-CZ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5.)</a:t>
                      </a:r>
                      <a:endParaRPr lang="cs-CZ" sz="16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7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8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9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,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</a:t>
                      </a:r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FF"/>
                        </a:highlight>
                        <a:latin typeface="+mj-lt"/>
                      </a:endParaRP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7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8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9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,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</a:t>
                      </a:r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FF"/>
                        </a:highlight>
                        <a:latin typeface="+mj-lt"/>
                      </a:endParaRP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highlight>
                            <a:srgbClr val="FFFFFF"/>
                          </a:highlight>
                        </a:rPr>
                        <a:t>denní průměr včetně víkendů</a:t>
                      </a:r>
                      <a:endParaRPr lang="en-US" sz="1200" dirty="0">
                        <a:highlight>
                          <a:srgbClr val="FFFFFF"/>
                        </a:highlight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highlight>
                            <a:srgbClr val="FFFFFF"/>
                          </a:highlight>
                        </a:rPr>
                        <a:t>denní průměr v pracovních dnech</a:t>
                      </a:r>
                      <a:endParaRPr lang="cs-CZ" sz="1200" dirty="0">
                        <a:highlight>
                          <a:srgbClr val="FFFFFF"/>
                        </a:highlight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8491739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indent="0" algn="l" fontAlgn="b"/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  <a:r>
                        <a:rPr lang="cs-CZ" sz="1450" b="1" u="none" strike="noStrike" dirty="0">
                          <a:effectLst/>
                        </a:rPr>
                        <a:t>.–13. 6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 tisíce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 tisíce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 tisíce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 tisíce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6621032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50" u="none" strike="noStrike" dirty="0">
                          <a:effectLst/>
                        </a:rPr>
                        <a:t>Období </a:t>
                      </a:r>
                      <a:r>
                        <a:rPr lang="cs-CZ" sz="1450" b="1" u="none" strike="noStrike" dirty="0">
                          <a:effectLst/>
                        </a:rPr>
                        <a:t>14.–20. 6.</a:t>
                      </a:r>
                      <a:endParaRPr lang="cs-CZ" sz="14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 tisíce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 tisíce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 tisíce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62736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1</a:t>
                      </a:r>
                      <a:r>
                        <a:rPr lang="cs-CZ" sz="1450" b="1" u="none" strike="noStrike" dirty="0">
                          <a:effectLst/>
                        </a:rPr>
                        <a:t>.–27. 6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 tisíce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 tisíce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 tisíce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3466947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indent="0" algn="l" fontAlgn="b"/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8. 6.</a:t>
                      </a:r>
                      <a:r>
                        <a:rPr lang="cs-CZ" sz="1450" b="1" u="none" strike="noStrike" dirty="0">
                          <a:effectLst/>
                        </a:rPr>
                        <a:t>–4. 7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 tisíce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 tisíce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7246171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.</a:t>
                      </a:r>
                      <a:r>
                        <a:rPr lang="cs-CZ" sz="1450" b="1" u="none" strike="noStrike" dirty="0">
                          <a:effectLst/>
                        </a:rPr>
                        <a:t>–11. 7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 tisíce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6 tisíce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9339872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.</a:t>
                      </a:r>
                      <a:r>
                        <a:rPr lang="cs-CZ" sz="1450" b="1" u="none" strike="noStrike" dirty="0">
                          <a:effectLst/>
                        </a:rPr>
                        <a:t>–18. 7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 tisíce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6 tisíce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651041"/>
                  </a:ext>
                </a:extLst>
              </a:tr>
            </a:tbl>
          </a:graphicData>
        </a:graphic>
      </p:graphicFrame>
      <p:sp>
        <p:nvSpPr>
          <p:cNvPr id="9" name="TextovéPole 8">
            <a:extLst>
              <a:ext uri="{FF2B5EF4-FFF2-40B4-BE49-F238E27FC236}">
                <a16:creationId xmlns:a16="http://schemas.microsoft.com/office/drawing/2014/main" id="{E4A0DC13-0AB7-42C0-B44A-C8095E8723E9}"/>
              </a:ext>
            </a:extLst>
          </p:cNvPr>
          <p:cNvSpPr txBox="1"/>
          <p:nvPr/>
        </p:nvSpPr>
        <p:spPr>
          <a:xfrm>
            <a:off x="45720" y="6388483"/>
            <a:ext cx="12090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200" dirty="0">
                <a:solidFill>
                  <a:schemeClr val="accent1"/>
                </a:solidFill>
              </a:rPr>
              <a:t>Predikované počty odpovídají modelovaným hodnotám (kalibrovaným na hodnoty pozorované v pracovních dnech), naměřené hodnoty zahrnují všechny počty hlášené do databáze, včetně potenciálně nižších záchytů nemoci v nepracovních dnech. V případě denního průměrného počtu jsou uvedeny i hodnoty, které zahrnují pouze pracovní dny.</a:t>
            </a:r>
          </a:p>
        </p:txBody>
      </p:sp>
      <p:sp>
        <p:nvSpPr>
          <p:cNvPr id="8" name="Nadpis 1">
            <a:extLst>
              <a:ext uri="{FF2B5EF4-FFF2-40B4-BE49-F238E27FC236}">
                <a16:creationId xmlns:a16="http://schemas.microsoft.com/office/drawing/2014/main" id="{DBBDF33E-D7ED-4B93-A481-745FE41008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558611" cy="576000"/>
          </a:xfrm>
        </p:spPr>
        <p:txBody>
          <a:bodyPr/>
          <a:lstStyle/>
          <a:p>
            <a:r>
              <a:rPr lang="cs-CZ" dirty="0" err="1"/>
              <a:t>Rekalibrace</a:t>
            </a:r>
            <a:r>
              <a:rPr lang="cs-CZ" dirty="0"/>
              <a:t> prediktivního modelu pro </a:t>
            </a:r>
            <a:r>
              <a:rPr lang="cs-CZ" u="sng" dirty="0"/>
              <a:t>nové scénáře</a:t>
            </a:r>
            <a:r>
              <a:rPr lang="cs-CZ" dirty="0"/>
              <a:t>: Středočeský kraj</a:t>
            </a:r>
          </a:p>
        </p:txBody>
      </p:sp>
      <p:grpSp>
        <p:nvGrpSpPr>
          <p:cNvPr id="6" name="Skupina 5">
            <a:extLst>
              <a:ext uri="{FF2B5EF4-FFF2-40B4-BE49-F238E27FC236}">
                <a16:creationId xmlns:a16="http://schemas.microsoft.com/office/drawing/2014/main" id="{4D16F585-D78F-4C27-97C7-4E74D47E34B7}"/>
              </a:ext>
            </a:extLst>
          </p:cNvPr>
          <p:cNvGrpSpPr/>
          <p:nvPr/>
        </p:nvGrpSpPr>
        <p:grpSpPr>
          <a:xfrm>
            <a:off x="10773218" y="984764"/>
            <a:ext cx="1327377" cy="214078"/>
            <a:chOff x="12334307" y="6375531"/>
            <a:chExt cx="2716628" cy="438135"/>
          </a:xfrm>
        </p:grpSpPr>
        <p:pic>
          <p:nvPicPr>
            <p:cNvPr id="7" name="Obrázek 6">
              <a:extLst>
                <a:ext uri="{FF2B5EF4-FFF2-40B4-BE49-F238E27FC236}">
                  <a16:creationId xmlns:a16="http://schemas.microsoft.com/office/drawing/2014/main" id="{5C2D5EBF-B43A-4CFB-91FA-1BA71812583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334307" y="6375531"/>
              <a:ext cx="338328" cy="438135"/>
            </a:xfrm>
            <a:prstGeom prst="rect">
              <a:avLst/>
            </a:prstGeom>
          </p:spPr>
        </p:pic>
        <p:pic>
          <p:nvPicPr>
            <p:cNvPr id="11" name="Obrázek 10">
              <a:extLst>
                <a:ext uri="{FF2B5EF4-FFF2-40B4-BE49-F238E27FC236}">
                  <a16:creationId xmlns:a16="http://schemas.microsoft.com/office/drawing/2014/main" id="{B343170D-E628-4CEF-9B28-6836C85F719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807607" y="6385202"/>
              <a:ext cx="2243328" cy="396240"/>
            </a:xfrm>
            <a:prstGeom prst="rect">
              <a:avLst/>
            </a:prstGeom>
          </p:spPr>
        </p:pic>
      </p:grp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64BB7FD3-0352-42D7-99BC-22B2895D55E5}"/>
              </a:ext>
            </a:extLst>
          </p:cNvPr>
          <p:cNvSpPr txBox="1"/>
          <p:nvPr/>
        </p:nvSpPr>
        <p:spPr>
          <a:xfrm>
            <a:off x="0" y="576002"/>
            <a:ext cx="1231394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600" b="1" dirty="0">
                <a:solidFill>
                  <a:srgbClr val="000000"/>
                </a:solidFill>
              </a:rPr>
              <a:t>Epidemické křivky vytvořeny pomocí modelu pro krátkodobé predikce ÚZIS ČR, </a:t>
            </a:r>
            <a:r>
              <a:rPr lang="pl-PL" sz="1600" b="1" u="sng" dirty="0">
                <a:solidFill>
                  <a:srgbClr val="000000"/>
                </a:solidFill>
              </a:rPr>
              <a:t>predikce odpovídá údajům z 1. 6. 2021.</a:t>
            </a:r>
            <a:endParaRPr lang="cs-CZ" sz="1600" b="1" u="sng" dirty="0">
              <a:solidFill>
                <a:srgbClr val="000000"/>
              </a:solidFill>
            </a:endParaRPr>
          </a:p>
          <a:p>
            <a:pPr lvl="0">
              <a:defRPr/>
            </a:pPr>
            <a:r>
              <a:rPr lang="cs-CZ" sz="1200" b="1" dirty="0">
                <a:solidFill>
                  <a:srgbClr val="000000"/>
                </a:solidFill>
              </a:rPr>
              <a:t>Hodnota celorepublikového modelu byla lokalizovaná do příslušného kraje se zohledněním trendu nárůstu ve </a:t>
            </a:r>
            <a:r>
              <a:rPr lang="pl-PL" sz="1200" b="1" dirty="0">
                <a:solidFill>
                  <a:srgbClr val="000000"/>
                </a:solidFill>
              </a:rPr>
              <a:t>dnech 24. 5. až 31. 5.</a:t>
            </a:r>
          </a:p>
          <a:p>
            <a:pPr lvl="0">
              <a:defRPr/>
            </a:pPr>
            <a:r>
              <a:rPr lang="cs-CZ" sz="1200" b="1" dirty="0">
                <a:solidFill>
                  <a:srgbClr val="000000"/>
                </a:solidFill>
              </a:rPr>
              <a:t>Naměřené hodnoty jsou aktuální </a:t>
            </a:r>
            <a:r>
              <a:rPr lang="pl-PL" sz="1200" b="1" dirty="0">
                <a:solidFill>
                  <a:srgbClr val="000000"/>
                </a:solidFill>
              </a:rPr>
              <a:t>k uzavřenému dni 27. 6. 2021</a:t>
            </a:r>
            <a:r>
              <a:rPr lang="cs-CZ" sz="1200" b="1" dirty="0">
                <a:solidFill>
                  <a:srgbClr val="000000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22274467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B1276870-99EE-4D94-8977-D4A2442A6BF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8875113"/>
              </p:ext>
            </p:extLst>
          </p:nvPr>
        </p:nvGraphicFramePr>
        <p:xfrm>
          <a:off x="556549" y="867747"/>
          <a:ext cx="11354940" cy="5955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5" name="TextovéPole 14">
            <a:extLst>
              <a:ext uri="{FF2B5EF4-FFF2-40B4-BE49-F238E27FC236}">
                <a16:creationId xmlns:a16="http://schemas.microsoft.com/office/drawing/2014/main" id="{D297EC6B-32AF-493A-B2A7-B285C8CEF178}"/>
              </a:ext>
            </a:extLst>
          </p:cNvPr>
          <p:cNvSpPr txBox="1"/>
          <p:nvPr/>
        </p:nvSpPr>
        <p:spPr>
          <a:xfrm>
            <a:off x="1931960" y="976711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10</a:t>
            </a: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3C9B186B-8163-428B-A364-E90D3144B57D}"/>
              </a:ext>
            </a:extLst>
          </p:cNvPr>
          <p:cNvSpPr/>
          <p:nvPr/>
        </p:nvSpPr>
        <p:spPr>
          <a:xfrm>
            <a:off x="5175471" y="1053160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35669B2F-D612-4664-B709-53D98132D57A}"/>
              </a:ext>
            </a:extLst>
          </p:cNvPr>
          <p:cNvSpPr txBox="1"/>
          <p:nvPr/>
        </p:nvSpPr>
        <p:spPr>
          <a:xfrm>
            <a:off x="5472652" y="1001353"/>
            <a:ext cx="15734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9" name="Přímá spojnice 18">
            <a:extLst>
              <a:ext uri="{FF2B5EF4-FFF2-40B4-BE49-F238E27FC236}">
                <a16:creationId xmlns:a16="http://schemas.microsoft.com/office/drawing/2014/main" id="{76B85254-1A7D-488E-9830-3F99A7742F43}"/>
              </a:ext>
            </a:extLst>
          </p:cNvPr>
          <p:cNvCxnSpPr>
            <a:cxnSpLocks/>
          </p:cNvCxnSpPr>
          <p:nvPr/>
        </p:nvCxnSpPr>
        <p:spPr>
          <a:xfrm>
            <a:off x="1637215" y="1131746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7DE1342D-EB8B-4B07-AF76-9D71853830EC}"/>
              </a:ext>
            </a:extLst>
          </p:cNvPr>
          <p:cNvSpPr txBox="1"/>
          <p:nvPr/>
        </p:nvSpPr>
        <p:spPr>
          <a:xfrm>
            <a:off x="1931960" y="1201931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0</a:t>
            </a:r>
          </a:p>
        </p:txBody>
      </p: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E4706C2C-C343-4CD4-BC4A-ED6979CFCE85}"/>
              </a:ext>
            </a:extLst>
          </p:cNvPr>
          <p:cNvCxnSpPr>
            <a:cxnSpLocks/>
          </p:cNvCxnSpPr>
          <p:nvPr/>
        </p:nvCxnSpPr>
        <p:spPr>
          <a:xfrm>
            <a:off x="1637215" y="1355053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24">
            <a:extLst>
              <a:ext uri="{FF2B5EF4-FFF2-40B4-BE49-F238E27FC236}">
                <a16:creationId xmlns:a16="http://schemas.microsoft.com/office/drawing/2014/main" id="{E453CAE8-274D-40EB-837F-1DFE06B3FC2E}"/>
              </a:ext>
            </a:extLst>
          </p:cNvPr>
          <p:cNvCxnSpPr>
            <a:cxnSpLocks/>
          </p:cNvCxnSpPr>
          <p:nvPr/>
        </p:nvCxnSpPr>
        <p:spPr>
          <a:xfrm>
            <a:off x="1637215" y="1583552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66CCB7E5-B893-4905-A783-B3A264BEFB90}"/>
              </a:ext>
            </a:extLst>
          </p:cNvPr>
          <p:cNvSpPr txBox="1"/>
          <p:nvPr/>
        </p:nvSpPr>
        <p:spPr>
          <a:xfrm>
            <a:off x="9546722" y="2199307"/>
            <a:ext cx="1945049" cy="100027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b="1" dirty="0">
                <a:solidFill>
                  <a:prstClr val="black"/>
                </a:solidFill>
                <a:latin typeface="Calibri" panose="020F0502020204030204"/>
              </a:rPr>
              <a:t>18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7. 2021</a:t>
            </a:r>
          </a:p>
          <a:p>
            <a:pPr lvl="0" algn="r"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7denní </a:t>
            </a:r>
            <a:r>
              <a:rPr lang="cs-CZ" sz="1100" dirty="0" err="1">
                <a:solidFill>
                  <a:prstClr val="black"/>
                </a:solidFill>
                <a:latin typeface="Calibri" panose="020F0502020204030204"/>
              </a:rPr>
              <a:t>kum</a:t>
            </a: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. počet na 100 tis.)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46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10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2 na 100 tisíc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266137AA-9182-40A3-A142-5179882050AD}"/>
              </a:ext>
            </a:extLst>
          </p:cNvPr>
          <p:cNvSpPr txBox="1"/>
          <p:nvPr/>
        </p:nvSpPr>
        <p:spPr>
          <a:xfrm>
            <a:off x="1924103" y="1434256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70</a:t>
            </a:r>
          </a:p>
          <a:p>
            <a:pPr lvl="0"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scénáře ze dne 1. 6. 2021, R aplikováno od 24. 5. 2021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E32A18E1-478B-49B3-B19F-744DF92D3F6C}"/>
              </a:ext>
            </a:extLst>
          </p:cNvPr>
          <p:cNvSpPr txBox="1"/>
          <p:nvPr/>
        </p:nvSpPr>
        <p:spPr>
          <a:xfrm>
            <a:off x="7273125" y="2199307"/>
            <a:ext cx="1945048" cy="100027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b="1" dirty="0">
                <a:solidFill>
                  <a:prstClr val="black"/>
                </a:solidFill>
                <a:latin typeface="Calibri" panose="020F0502020204030204"/>
              </a:rPr>
              <a:t>30. 6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2021 </a:t>
            </a:r>
            <a:b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7denní </a:t>
            </a:r>
            <a:r>
              <a:rPr lang="cs-CZ" sz="1100" dirty="0" err="1">
                <a:solidFill>
                  <a:prstClr val="black"/>
                </a:solidFill>
                <a:latin typeface="Calibri" panose="020F0502020204030204"/>
              </a:rPr>
              <a:t>kum</a:t>
            </a: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. počet na 100 tis.)</a:t>
            </a:r>
            <a:endParaRPr kumimoji="0" lang="cs-CZ" sz="12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32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12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4 na 100 tisíc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30" name="TextBox 6">
            <a:extLst>
              <a:ext uri="{FF2B5EF4-FFF2-40B4-BE49-F238E27FC236}">
                <a16:creationId xmlns:a16="http://schemas.microsoft.com/office/drawing/2014/main" id="{8B058FAD-246D-4FB5-9A38-9461A45D5931}"/>
              </a:ext>
            </a:extLst>
          </p:cNvPr>
          <p:cNvSpPr txBox="1"/>
          <p:nvPr/>
        </p:nvSpPr>
        <p:spPr>
          <a:xfrm rot="16200000">
            <a:off x="-1483263" y="3360473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2AE1522-C017-42C8-A5BD-E7F3E887F3AA}"/>
              </a:ext>
            </a:extLst>
          </p:cNvPr>
          <p:cNvSpPr txBox="1"/>
          <p:nvPr/>
        </p:nvSpPr>
        <p:spPr>
          <a:xfrm>
            <a:off x="7780712" y="1826572"/>
            <a:ext cx="29732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i="1" dirty="0"/>
              <a:t>Predikované hodnoty </a:t>
            </a:r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C2CDA8BD-006D-42A8-BA88-064DA323F845}"/>
              </a:ext>
            </a:extLst>
          </p:cNvPr>
          <p:cNvSpPr txBox="1"/>
          <p:nvPr/>
        </p:nvSpPr>
        <p:spPr>
          <a:xfrm>
            <a:off x="11558187" y="3553360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00" b="1" dirty="0">
                <a:latin typeface="Calibri" panose="020F0502020204030204" pitchFamily="34" charset="0"/>
                <a:cs typeface="Calibri" panose="020F0502020204030204" pitchFamily="34" charset="0"/>
              </a:rPr>
              <a:t>100</a:t>
            </a:r>
          </a:p>
          <a:p>
            <a:r>
              <a:rPr lang="cs-CZ" sz="800" dirty="0">
                <a:latin typeface="Calibri" panose="020F0502020204030204" pitchFamily="34" charset="0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5B77FD62-F375-40BF-A635-0F86D4274581}"/>
              </a:ext>
            </a:extLst>
          </p:cNvPr>
          <p:cNvSpPr txBox="1"/>
          <p:nvPr/>
        </p:nvSpPr>
        <p:spPr>
          <a:xfrm>
            <a:off x="11577452" y="4621660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00" b="1" dirty="0">
                <a:latin typeface="Calibri" panose="020F0502020204030204" pitchFamily="34" charset="0"/>
                <a:cs typeface="Calibri" panose="020F0502020204030204" pitchFamily="34" charset="0"/>
              </a:rPr>
              <a:t>50</a:t>
            </a:r>
          </a:p>
          <a:p>
            <a:r>
              <a:rPr lang="cs-CZ" sz="800" dirty="0">
                <a:latin typeface="Calibri" panose="020F0502020204030204" pitchFamily="34" charset="0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31" name="Nadpis 1">
            <a:extLst>
              <a:ext uri="{FF2B5EF4-FFF2-40B4-BE49-F238E27FC236}">
                <a16:creationId xmlns:a16="http://schemas.microsoft.com/office/drawing/2014/main" id="{CFCC2C02-F284-4941-91C6-5CC2566B6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en-US" sz="1800" dirty="0" err="1">
                <a:latin typeface="+mj-lt"/>
              </a:rPr>
              <a:t>Modelov</a:t>
            </a:r>
            <a:r>
              <a:rPr lang="cs-CZ" sz="1800" dirty="0">
                <a:latin typeface="+mj-lt"/>
              </a:rPr>
              <a:t>é scénáře: 7denní hodnoty na 100 tisíc obyvatel: </a:t>
            </a:r>
            <a:r>
              <a:rPr lang="cs-CZ" sz="1800" dirty="0"/>
              <a:t>Středočeský kraj</a:t>
            </a:r>
            <a:endParaRPr lang="cs-CZ" sz="1800" dirty="0">
              <a:latin typeface="+mj-lt"/>
            </a:endParaRPr>
          </a:p>
        </p:txBody>
      </p: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EE744899-4831-4573-9408-495F16CA9A16}"/>
              </a:ext>
            </a:extLst>
          </p:cNvPr>
          <p:cNvSpPr txBox="1"/>
          <p:nvPr/>
        </p:nvSpPr>
        <p:spPr>
          <a:xfrm>
            <a:off x="228000" y="6456056"/>
            <a:ext cx="1173470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100" dirty="0">
                <a:solidFill>
                  <a:schemeClr val="accent1"/>
                </a:solidFill>
              </a:rPr>
              <a:t>Hodnota celorepublikového modelu byla lokalizovaná do příslušného kraje se zohledněním trendu nárůstu ve dnech 24. 5. až 31. 5.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B6F0B769-9E18-45F0-89C4-8D22EE771EAC}"/>
              </a:ext>
            </a:extLst>
          </p:cNvPr>
          <p:cNvGrpSpPr/>
          <p:nvPr/>
        </p:nvGrpSpPr>
        <p:grpSpPr>
          <a:xfrm>
            <a:off x="10773218" y="654984"/>
            <a:ext cx="1327377" cy="214078"/>
            <a:chOff x="12334307" y="6375531"/>
            <a:chExt cx="2716628" cy="438135"/>
          </a:xfrm>
        </p:grpSpPr>
        <p:pic>
          <p:nvPicPr>
            <p:cNvPr id="33" name="Obrázek 32">
              <a:extLst>
                <a:ext uri="{FF2B5EF4-FFF2-40B4-BE49-F238E27FC236}">
                  <a16:creationId xmlns:a16="http://schemas.microsoft.com/office/drawing/2014/main" id="{DD960978-7BB1-42CA-95DD-3FE1D770A6C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2334307" y="6375531"/>
              <a:ext cx="338328" cy="438135"/>
            </a:xfrm>
            <a:prstGeom prst="rect">
              <a:avLst/>
            </a:prstGeom>
          </p:spPr>
        </p:pic>
        <p:pic>
          <p:nvPicPr>
            <p:cNvPr id="34" name="Obrázek 33">
              <a:extLst>
                <a:ext uri="{FF2B5EF4-FFF2-40B4-BE49-F238E27FC236}">
                  <a16:creationId xmlns:a16="http://schemas.microsoft.com/office/drawing/2014/main" id="{FB1A8ED9-4024-42AE-9EED-709A4416F00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807607" y="6385202"/>
              <a:ext cx="2243328" cy="396240"/>
            </a:xfrm>
            <a:prstGeom prst="rect">
              <a:avLst/>
            </a:prstGeom>
          </p:spPr>
        </p:pic>
      </p:grp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03DC7AB5-DF22-4F62-BC3B-03C51BD80602}"/>
              </a:ext>
            </a:extLst>
          </p:cNvPr>
          <p:cNvSpPr txBox="1"/>
          <p:nvPr/>
        </p:nvSpPr>
        <p:spPr>
          <a:xfrm>
            <a:off x="5470252" y="1231063"/>
            <a:ext cx="194504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pl-PL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 uzavřenému dni 27. 6. 2021</a:t>
            </a: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48375208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B1276870-99EE-4D94-8977-D4A2442A6BF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0520628"/>
              </p:ext>
            </p:extLst>
          </p:nvPr>
        </p:nvGraphicFramePr>
        <p:xfrm>
          <a:off x="556549" y="3273786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399F9D63-C378-4018-B97A-C6FF1B38BBF2}"/>
              </a:ext>
            </a:extLst>
          </p:cNvPr>
          <p:cNvSpPr txBox="1"/>
          <p:nvPr/>
        </p:nvSpPr>
        <p:spPr>
          <a:xfrm>
            <a:off x="214075" y="1050497"/>
            <a:ext cx="38671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 dle hodnoty reprodukčního čísla 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69B8FCCD-AB42-495D-8900-E0EDAF4D3695}"/>
              </a:ext>
            </a:extLst>
          </p:cNvPr>
          <p:cNvSpPr txBox="1"/>
          <p:nvPr/>
        </p:nvSpPr>
        <p:spPr>
          <a:xfrm>
            <a:off x="4792918" y="638978"/>
            <a:ext cx="5031486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vý scénář (R = 1,10)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915432FB-02C6-4A48-823E-AAFFD38F04CD}"/>
              </a:ext>
            </a:extLst>
          </p:cNvPr>
          <p:cNvSpPr txBox="1"/>
          <p:nvPr/>
        </p:nvSpPr>
        <p:spPr>
          <a:xfrm>
            <a:off x="4792918" y="1947883"/>
            <a:ext cx="5031486" cy="369332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zpomalení (R = 0,70)</a:t>
            </a:r>
          </a:p>
        </p:txBody>
      </p:sp>
      <p:cxnSp>
        <p:nvCxnSpPr>
          <p:cNvPr id="10" name="Přímá spojnice se šipkou 9">
            <a:extLst>
              <a:ext uri="{FF2B5EF4-FFF2-40B4-BE49-F238E27FC236}">
                <a16:creationId xmlns:a16="http://schemas.microsoft.com/office/drawing/2014/main" id="{2FBBF0DE-751C-4A8D-9688-745F518DEA63}"/>
              </a:ext>
            </a:extLst>
          </p:cNvPr>
          <p:cNvCxnSpPr/>
          <p:nvPr/>
        </p:nvCxnSpPr>
        <p:spPr>
          <a:xfrm flipV="1">
            <a:off x="4154743" y="864532"/>
            <a:ext cx="523875" cy="56949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Přímá spojnice se šipkou 10">
            <a:extLst>
              <a:ext uri="{FF2B5EF4-FFF2-40B4-BE49-F238E27FC236}">
                <a16:creationId xmlns:a16="http://schemas.microsoft.com/office/drawing/2014/main" id="{427BD7B2-178E-45A0-B634-921C0C8A629F}"/>
              </a:ext>
            </a:extLst>
          </p:cNvPr>
          <p:cNvCxnSpPr/>
          <p:nvPr/>
        </p:nvCxnSpPr>
        <p:spPr>
          <a:xfrm>
            <a:off x="4154743" y="1503447"/>
            <a:ext cx="523875" cy="64073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6">
            <a:extLst>
              <a:ext uri="{FF2B5EF4-FFF2-40B4-BE49-F238E27FC236}">
                <a16:creationId xmlns:a16="http://schemas.microsoft.com/office/drawing/2014/main" id="{69CEF138-18A8-4271-9FEF-402DB7C25B86}"/>
              </a:ext>
            </a:extLst>
          </p:cNvPr>
          <p:cNvSpPr txBox="1"/>
          <p:nvPr/>
        </p:nvSpPr>
        <p:spPr>
          <a:xfrm>
            <a:off x="489851" y="2893021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D297EC6B-32AF-493A-B2A7-B285C8CEF178}"/>
              </a:ext>
            </a:extLst>
          </p:cNvPr>
          <p:cNvSpPr txBox="1"/>
          <p:nvPr/>
        </p:nvSpPr>
        <p:spPr>
          <a:xfrm>
            <a:off x="4475378" y="2789253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10</a:t>
            </a: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3C9B186B-8163-428B-A364-E90D3144B57D}"/>
              </a:ext>
            </a:extLst>
          </p:cNvPr>
          <p:cNvSpPr/>
          <p:nvPr/>
        </p:nvSpPr>
        <p:spPr>
          <a:xfrm>
            <a:off x="7952761" y="2841929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35669B2F-D612-4664-B709-53D98132D57A}"/>
              </a:ext>
            </a:extLst>
          </p:cNvPr>
          <p:cNvSpPr txBox="1"/>
          <p:nvPr/>
        </p:nvSpPr>
        <p:spPr>
          <a:xfrm>
            <a:off x="8249942" y="2790122"/>
            <a:ext cx="15734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9" name="Přímá spojnice 18">
            <a:extLst>
              <a:ext uri="{FF2B5EF4-FFF2-40B4-BE49-F238E27FC236}">
                <a16:creationId xmlns:a16="http://schemas.microsoft.com/office/drawing/2014/main" id="{76B85254-1A7D-488E-9830-3F99A7742F43}"/>
              </a:ext>
            </a:extLst>
          </p:cNvPr>
          <p:cNvCxnSpPr>
            <a:cxnSpLocks/>
          </p:cNvCxnSpPr>
          <p:nvPr/>
        </p:nvCxnSpPr>
        <p:spPr>
          <a:xfrm>
            <a:off x="4180633" y="2944288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7DE1342D-EB8B-4B07-AF76-9D71853830EC}"/>
              </a:ext>
            </a:extLst>
          </p:cNvPr>
          <p:cNvSpPr txBox="1"/>
          <p:nvPr/>
        </p:nvSpPr>
        <p:spPr>
          <a:xfrm>
            <a:off x="4475378" y="3014473"/>
            <a:ext cx="313540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0	</a:t>
            </a:r>
          </a:p>
        </p:txBody>
      </p: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E4706C2C-C343-4CD4-BC4A-ED6979CFCE85}"/>
              </a:ext>
            </a:extLst>
          </p:cNvPr>
          <p:cNvCxnSpPr>
            <a:cxnSpLocks/>
          </p:cNvCxnSpPr>
          <p:nvPr/>
        </p:nvCxnSpPr>
        <p:spPr>
          <a:xfrm>
            <a:off x="4180633" y="3167595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24">
            <a:extLst>
              <a:ext uri="{FF2B5EF4-FFF2-40B4-BE49-F238E27FC236}">
                <a16:creationId xmlns:a16="http://schemas.microsoft.com/office/drawing/2014/main" id="{E453CAE8-274D-40EB-837F-1DFE06B3FC2E}"/>
              </a:ext>
            </a:extLst>
          </p:cNvPr>
          <p:cNvCxnSpPr>
            <a:cxnSpLocks/>
          </p:cNvCxnSpPr>
          <p:nvPr/>
        </p:nvCxnSpPr>
        <p:spPr>
          <a:xfrm>
            <a:off x="4180633" y="3387705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66CCB7E5-B893-4905-A783-B3A264BEFB90}"/>
              </a:ext>
            </a:extLst>
          </p:cNvPr>
          <p:cNvSpPr txBox="1"/>
          <p:nvPr/>
        </p:nvSpPr>
        <p:spPr>
          <a:xfrm>
            <a:off x="10091064" y="4065325"/>
            <a:ext cx="1544387" cy="83099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8. </a:t>
            </a:r>
            <a:r>
              <a:rPr lang="cs-CZ" sz="1200" b="1" dirty="0">
                <a:solidFill>
                  <a:prstClr val="black"/>
                </a:solidFill>
                <a:latin typeface="Calibri" panose="020F0502020204030204"/>
              </a:rPr>
              <a:t>7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2021</a:t>
            </a: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88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18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4 predikovaných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266137AA-9182-40A3-A142-5179882050AD}"/>
              </a:ext>
            </a:extLst>
          </p:cNvPr>
          <p:cNvSpPr txBox="1"/>
          <p:nvPr/>
        </p:nvSpPr>
        <p:spPr>
          <a:xfrm>
            <a:off x="4467521" y="3238409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7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</a:t>
            </a: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6. 2021, R aplikováno od 24. 5. 2021)</a:t>
            </a: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E32A18E1-478B-49B3-B19F-744DF92D3F6C}"/>
              </a:ext>
            </a:extLst>
          </p:cNvPr>
          <p:cNvSpPr txBox="1"/>
          <p:nvPr/>
        </p:nvSpPr>
        <p:spPr>
          <a:xfrm>
            <a:off x="7780712" y="4294618"/>
            <a:ext cx="1544387" cy="83099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b="1" dirty="0">
                <a:solidFill>
                  <a:prstClr val="black"/>
                </a:solidFill>
                <a:latin typeface="Calibri" panose="020F0502020204030204"/>
              </a:rPr>
              <a:t>30. 6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2021</a:t>
            </a: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62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22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7 predikovaných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22" name="Nadpis 1">
            <a:extLst>
              <a:ext uri="{FF2B5EF4-FFF2-40B4-BE49-F238E27FC236}">
                <a16:creationId xmlns:a16="http://schemas.microsoft.com/office/drawing/2014/main" id="{6518D429-51CE-40C1-89F9-ADE1A20304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ce ve třech scénářích: Jihočeský kraj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B9B2F9A8-B201-4A43-927B-92767CAD080F}"/>
              </a:ext>
            </a:extLst>
          </p:cNvPr>
          <p:cNvGrpSpPr/>
          <p:nvPr/>
        </p:nvGrpSpPr>
        <p:grpSpPr>
          <a:xfrm>
            <a:off x="11226729" y="603793"/>
            <a:ext cx="933372" cy="306063"/>
            <a:chOff x="12375318" y="1202167"/>
            <a:chExt cx="1654215" cy="542435"/>
          </a:xfrm>
        </p:grpSpPr>
        <p:pic>
          <p:nvPicPr>
            <p:cNvPr id="30" name="Obrázek 29">
              <a:extLst>
                <a:ext uri="{FF2B5EF4-FFF2-40B4-BE49-F238E27FC236}">
                  <a16:creationId xmlns:a16="http://schemas.microsoft.com/office/drawing/2014/main" id="{AEAF53BE-B74F-49C5-9A1D-EADC80700EF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2375318" y="1275248"/>
              <a:ext cx="371898" cy="447173"/>
            </a:xfrm>
            <a:prstGeom prst="rect">
              <a:avLst/>
            </a:prstGeom>
          </p:spPr>
        </p:pic>
        <p:pic>
          <p:nvPicPr>
            <p:cNvPr id="31" name="Obrázek 30">
              <a:extLst>
                <a:ext uri="{FF2B5EF4-FFF2-40B4-BE49-F238E27FC236}">
                  <a16:creationId xmlns:a16="http://schemas.microsoft.com/office/drawing/2014/main" id="{16AEE8B5-DCDB-42AC-8BFE-3550B19619F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2760" t="24183" b="15901"/>
            <a:stretch/>
          </p:blipFill>
          <p:spPr>
            <a:xfrm>
              <a:off x="12855762" y="1202167"/>
              <a:ext cx="1173771" cy="542435"/>
            </a:xfrm>
            <a:prstGeom prst="rect">
              <a:avLst/>
            </a:prstGeom>
          </p:spPr>
        </p:pic>
      </p:grp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6576BBA0-84EE-47B6-AE8B-D4BF48E6400A}"/>
              </a:ext>
            </a:extLst>
          </p:cNvPr>
          <p:cNvSpPr txBox="1"/>
          <p:nvPr/>
        </p:nvSpPr>
        <p:spPr>
          <a:xfrm>
            <a:off x="8249942" y="3001602"/>
            <a:ext cx="194504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pl-PL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 uzavřenému dni 27. 6. 2021</a:t>
            </a: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429231203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ulka 9">
            <a:extLst>
              <a:ext uri="{FF2B5EF4-FFF2-40B4-BE49-F238E27FC236}">
                <a16:creationId xmlns:a16="http://schemas.microsoft.com/office/drawing/2014/main" id="{2CDF3C9D-B366-482C-9DEE-848BF9D72A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48300867"/>
              </p:ext>
            </p:extLst>
          </p:nvPr>
        </p:nvGraphicFramePr>
        <p:xfrm>
          <a:off x="45720" y="1318054"/>
          <a:ext cx="12108951" cy="5019468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18422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3468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93810515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272550134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889585356"/>
                    </a:ext>
                  </a:extLst>
                </a:gridCol>
                <a:gridCol w="1116000">
                  <a:extLst>
                    <a:ext uri="{9D8B030D-6E8A-4147-A177-3AD203B41FA5}">
                      <a16:colId xmlns:a16="http://schemas.microsoft.com/office/drawing/2014/main" val="3083214646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487868241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891010204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340384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264344487"/>
                    </a:ext>
                  </a:extLst>
                </a:gridCol>
                <a:gridCol w="1008000">
                  <a:extLst>
                    <a:ext uri="{9D8B030D-6E8A-4147-A177-3AD203B41FA5}">
                      <a16:colId xmlns:a16="http://schemas.microsoft.com/office/drawing/2014/main" val="13148050"/>
                    </a:ext>
                  </a:extLst>
                </a:gridCol>
                <a:gridCol w="1008000">
                  <a:extLst>
                    <a:ext uri="{9D8B030D-6E8A-4147-A177-3AD203B41FA5}">
                      <a16:colId xmlns:a16="http://schemas.microsoft.com/office/drawing/2014/main" val="1091220691"/>
                    </a:ext>
                  </a:extLst>
                </a:gridCol>
              </a:tblGrid>
              <a:tr h="822960">
                <a:tc>
                  <a:txBody>
                    <a:bodyPr/>
                    <a:lstStyle/>
                    <a:p>
                      <a:pPr algn="l"/>
                      <a:endParaRPr lang="cs-CZ" sz="16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cs-CZ" sz="1600" u="sng" dirty="0"/>
                        <a:t>Predikovaný celkový počet</a:t>
                      </a:r>
                      <a:r>
                        <a:rPr lang="cs-CZ" sz="1600" u="none" dirty="0"/>
                        <a:t> </a:t>
                      </a:r>
                      <a:br>
                        <a:rPr lang="cs-CZ" sz="1600" u="none" dirty="0"/>
                      </a:br>
                      <a:r>
                        <a:rPr lang="cs-CZ" sz="1600" u="none" dirty="0"/>
                        <a:t>N</a:t>
                      </a:r>
                      <a:r>
                        <a:rPr lang="cs-CZ" sz="1600" dirty="0"/>
                        <a:t>ově prokázané nákazy COVID-19</a:t>
                      </a:r>
                      <a:endParaRPr lang="cs-CZ" sz="1600" b="1" dirty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alita: naměřené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odnot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u="sng" dirty="0"/>
                        <a:t>Predikovaný průměrný denní počet</a:t>
                      </a:r>
                      <a:r>
                        <a:rPr lang="cs-CZ" sz="1600" dirty="0"/>
                        <a:t> Nově prokázané nákazy COVID-19</a:t>
                      </a:r>
                      <a:endParaRPr lang="cs-CZ" sz="16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600" b="1" dirty="0"/>
                        <a:t>Realita: naměřené</a:t>
                      </a:r>
                    </a:p>
                    <a:p>
                      <a:pPr algn="ctr"/>
                      <a:r>
                        <a:rPr lang="cs-CZ" sz="1600" b="1" dirty="0"/>
                        <a:t>hodnoty</a:t>
                      </a:r>
                      <a:endParaRPr lang="en-US" sz="16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16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87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odnota R</a:t>
                      </a:r>
                      <a:br>
                        <a:rPr lang="cs-CZ" sz="16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od 24</a:t>
                      </a:r>
                      <a:r>
                        <a:rPr lang="en-US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r>
                        <a:rPr lang="cs-CZ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5.)</a:t>
                      </a:r>
                      <a:endParaRPr lang="cs-CZ" sz="16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7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8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9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,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</a:t>
                      </a:r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FF"/>
                        </a:highlight>
                        <a:latin typeface="+mj-lt"/>
                      </a:endParaRP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7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8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9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,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</a:t>
                      </a:r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FF"/>
                        </a:highlight>
                        <a:latin typeface="+mj-lt"/>
                      </a:endParaRP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highlight>
                            <a:srgbClr val="FFFFFF"/>
                          </a:highlight>
                        </a:rPr>
                        <a:t>denní průměr včetně víkendů</a:t>
                      </a:r>
                      <a:endParaRPr lang="en-US" sz="1200" dirty="0">
                        <a:highlight>
                          <a:srgbClr val="FFFFFF"/>
                        </a:highlight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highlight>
                            <a:srgbClr val="FFFFFF"/>
                          </a:highlight>
                        </a:rPr>
                        <a:t>denní průměr v pracovních dnech</a:t>
                      </a:r>
                      <a:endParaRPr lang="cs-CZ" sz="1200" dirty="0">
                        <a:highlight>
                          <a:srgbClr val="FFFFFF"/>
                        </a:highlight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8491739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indent="0" algn="l" fontAlgn="b"/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  <a:r>
                        <a:rPr lang="cs-CZ" sz="1450" b="1" u="none" strike="noStrike" dirty="0">
                          <a:effectLst/>
                        </a:rPr>
                        <a:t>.–13. 6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 tisíce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 tisíce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 tisíce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 tisíce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6621032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50" u="none" strike="noStrike" dirty="0">
                          <a:effectLst/>
                        </a:rPr>
                        <a:t>Období </a:t>
                      </a:r>
                      <a:r>
                        <a:rPr lang="cs-CZ" sz="1450" b="1" u="none" strike="noStrike" dirty="0">
                          <a:effectLst/>
                        </a:rPr>
                        <a:t>14.–20. 6.</a:t>
                      </a:r>
                      <a:endParaRPr lang="cs-CZ" sz="14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 tisíce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 tisíce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 tisíce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62736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1</a:t>
                      </a:r>
                      <a:r>
                        <a:rPr lang="cs-CZ" sz="1450" b="1" u="none" strike="noStrike" dirty="0">
                          <a:effectLst/>
                        </a:rPr>
                        <a:t>.–27. 6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 tisíce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 tisíce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 tisíce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3466947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indent="0" algn="l" fontAlgn="b"/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8. 6.</a:t>
                      </a:r>
                      <a:r>
                        <a:rPr lang="cs-CZ" sz="1450" b="1" u="none" strike="noStrike" dirty="0">
                          <a:effectLst/>
                        </a:rPr>
                        <a:t>–4. 7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 tisíce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 tisíce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7246171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.</a:t>
                      </a:r>
                      <a:r>
                        <a:rPr lang="cs-CZ" sz="1450" b="1" u="none" strike="noStrike" dirty="0">
                          <a:effectLst/>
                        </a:rPr>
                        <a:t>–11. 7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 tisíce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 tisíce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9339872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.</a:t>
                      </a:r>
                      <a:r>
                        <a:rPr lang="cs-CZ" sz="1450" b="1" u="none" strike="noStrike" dirty="0">
                          <a:effectLst/>
                        </a:rPr>
                        <a:t>–18. 7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 tisíce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6 tisíce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651041"/>
                  </a:ext>
                </a:extLst>
              </a:tr>
            </a:tbl>
          </a:graphicData>
        </a:graphic>
      </p:graphicFrame>
      <p:sp>
        <p:nvSpPr>
          <p:cNvPr id="9" name="TextovéPole 8">
            <a:extLst>
              <a:ext uri="{FF2B5EF4-FFF2-40B4-BE49-F238E27FC236}">
                <a16:creationId xmlns:a16="http://schemas.microsoft.com/office/drawing/2014/main" id="{E4A0DC13-0AB7-42C0-B44A-C8095E8723E9}"/>
              </a:ext>
            </a:extLst>
          </p:cNvPr>
          <p:cNvSpPr txBox="1"/>
          <p:nvPr/>
        </p:nvSpPr>
        <p:spPr>
          <a:xfrm>
            <a:off x="45720" y="6388483"/>
            <a:ext cx="12090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200" dirty="0">
                <a:solidFill>
                  <a:schemeClr val="accent1"/>
                </a:solidFill>
              </a:rPr>
              <a:t>Predikované počty odpovídají modelovaným hodnotám (kalibrovaným na hodnoty pozorované v pracovních dnech), naměřené hodnoty zahrnují všechny počty hlášené do databáze, včetně potenciálně nižších záchytů nemoci v nepracovních dnech. V případě denního průměrného počtu jsou uvedeny i hodnoty, které zahrnují pouze pracovní dny.</a:t>
            </a:r>
          </a:p>
        </p:txBody>
      </p:sp>
      <p:sp>
        <p:nvSpPr>
          <p:cNvPr id="8" name="Nadpis 1">
            <a:extLst>
              <a:ext uri="{FF2B5EF4-FFF2-40B4-BE49-F238E27FC236}">
                <a16:creationId xmlns:a16="http://schemas.microsoft.com/office/drawing/2014/main" id="{DBBDF33E-D7ED-4B93-A481-745FE41008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558611" cy="576000"/>
          </a:xfrm>
        </p:spPr>
        <p:txBody>
          <a:bodyPr/>
          <a:lstStyle/>
          <a:p>
            <a:r>
              <a:rPr lang="cs-CZ" dirty="0" err="1"/>
              <a:t>Rekalibrace</a:t>
            </a:r>
            <a:r>
              <a:rPr lang="cs-CZ" dirty="0"/>
              <a:t> prediktivního modelu pro </a:t>
            </a:r>
            <a:r>
              <a:rPr lang="cs-CZ" u="sng" dirty="0"/>
              <a:t>nové scénáře</a:t>
            </a:r>
            <a:r>
              <a:rPr lang="cs-CZ" dirty="0"/>
              <a:t>: Jihočeský kraj</a:t>
            </a:r>
          </a:p>
        </p:txBody>
      </p:sp>
      <p:grpSp>
        <p:nvGrpSpPr>
          <p:cNvPr id="6" name="Skupina 5">
            <a:extLst>
              <a:ext uri="{FF2B5EF4-FFF2-40B4-BE49-F238E27FC236}">
                <a16:creationId xmlns:a16="http://schemas.microsoft.com/office/drawing/2014/main" id="{0CE19AB5-7739-4AB4-9690-29B71F102420}"/>
              </a:ext>
            </a:extLst>
          </p:cNvPr>
          <p:cNvGrpSpPr/>
          <p:nvPr/>
        </p:nvGrpSpPr>
        <p:grpSpPr>
          <a:xfrm>
            <a:off x="11226729" y="918583"/>
            <a:ext cx="933372" cy="306063"/>
            <a:chOff x="12375318" y="1202167"/>
            <a:chExt cx="1654215" cy="542435"/>
          </a:xfrm>
        </p:grpSpPr>
        <p:pic>
          <p:nvPicPr>
            <p:cNvPr id="7" name="Obrázek 6">
              <a:extLst>
                <a:ext uri="{FF2B5EF4-FFF2-40B4-BE49-F238E27FC236}">
                  <a16:creationId xmlns:a16="http://schemas.microsoft.com/office/drawing/2014/main" id="{9A4D3958-A44D-4DD5-8420-0AC7BC98B6B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375318" y="1275248"/>
              <a:ext cx="371898" cy="447173"/>
            </a:xfrm>
            <a:prstGeom prst="rect">
              <a:avLst/>
            </a:prstGeom>
          </p:spPr>
        </p:pic>
        <p:pic>
          <p:nvPicPr>
            <p:cNvPr id="11" name="Obrázek 10">
              <a:extLst>
                <a:ext uri="{FF2B5EF4-FFF2-40B4-BE49-F238E27FC236}">
                  <a16:creationId xmlns:a16="http://schemas.microsoft.com/office/drawing/2014/main" id="{C89DA570-7273-4CFB-8CF6-A6E333BFE5B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2760" t="24183" b="15901"/>
            <a:stretch/>
          </p:blipFill>
          <p:spPr>
            <a:xfrm>
              <a:off x="12855762" y="1202167"/>
              <a:ext cx="1173771" cy="542435"/>
            </a:xfrm>
            <a:prstGeom prst="rect">
              <a:avLst/>
            </a:prstGeom>
          </p:spPr>
        </p:pic>
      </p:grp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49DE2198-4433-4E74-861D-ECF2216370FA}"/>
              </a:ext>
            </a:extLst>
          </p:cNvPr>
          <p:cNvSpPr txBox="1"/>
          <p:nvPr/>
        </p:nvSpPr>
        <p:spPr>
          <a:xfrm>
            <a:off x="0" y="576002"/>
            <a:ext cx="1231394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600" b="1" dirty="0">
                <a:solidFill>
                  <a:srgbClr val="000000"/>
                </a:solidFill>
              </a:rPr>
              <a:t>Epidemické křivky vytvořeny pomocí modelu pro krátkodobé predikce ÚZIS ČR, </a:t>
            </a:r>
            <a:r>
              <a:rPr lang="pl-PL" sz="1600" b="1" u="sng" dirty="0">
                <a:solidFill>
                  <a:srgbClr val="000000"/>
                </a:solidFill>
              </a:rPr>
              <a:t>predikce odpovídá údajům z 1. 6. 2021.</a:t>
            </a:r>
            <a:endParaRPr lang="cs-CZ" sz="1600" b="1" u="sng" dirty="0">
              <a:solidFill>
                <a:srgbClr val="000000"/>
              </a:solidFill>
            </a:endParaRPr>
          </a:p>
          <a:p>
            <a:pPr lvl="0">
              <a:defRPr/>
            </a:pPr>
            <a:r>
              <a:rPr lang="cs-CZ" sz="1200" b="1" dirty="0">
                <a:solidFill>
                  <a:srgbClr val="000000"/>
                </a:solidFill>
              </a:rPr>
              <a:t>Hodnota celorepublikového modelu byla lokalizovaná do příslušného kraje se zohledněním trendu nárůstu ve </a:t>
            </a:r>
            <a:r>
              <a:rPr lang="pl-PL" sz="1200" b="1" dirty="0">
                <a:solidFill>
                  <a:srgbClr val="000000"/>
                </a:solidFill>
              </a:rPr>
              <a:t>dnech 24. 5. až 31. 5.</a:t>
            </a:r>
          </a:p>
          <a:p>
            <a:pPr lvl="0">
              <a:defRPr/>
            </a:pPr>
            <a:r>
              <a:rPr lang="cs-CZ" sz="1200" b="1" dirty="0">
                <a:solidFill>
                  <a:srgbClr val="000000"/>
                </a:solidFill>
              </a:rPr>
              <a:t>Naměřené hodnoty jsou aktuální </a:t>
            </a:r>
            <a:r>
              <a:rPr lang="pl-PL" sz="1200" b="1" dirty="0">
                <a:solidFill>
                  <a:srgbClr val="000000"/>
                </a:solidFill>
              </a:rPr>
              <a:t>k uzavřenému dni 27. 6. 2021</a:t>
            </a:r>
            <a:r>
              <a:rPr lang="cs-CZ" sz="1200" b="1" dirty="0">
                <a:solidFill>
                  <a:srgbClr val="000000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98378014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B1276870-99EE-4D94-8977-D4A2442A6BF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56309706"/>
              </p:ext>
            </p:extLst>
          </p:nvPr>
        </p:nvGraphicFramePr>
        <p:xfrm>
          <a:off x="556549" y="867747"/>
          <a:ext cx="11354940" cy="5955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5" name="TextovéPole 14">
            <a:extLst>
              <a:ext uri="{FF2B5EF4-FFF2-40B4-BE49-F238E27FC236}">
                <a16:creationId xmlns:a16="http://schemas.microsoft.com/office/drawing/2014/main" id="{D297EC6B-32AF-493A-B2A7-B285C8CEF178}"/>
              </a:ext>
            </a:extLst>
          </p:cNvPr>
          <p:cNvSpPr txBox="1"/>
          <p:nvPr/>
        </p:nvSpPr>
        <p:spPr>
          <a:xfrm>
            <a:off x="1931960" y="976711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10</a:t>
            </a: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3C9B186B-8163-428B-A364-E90D3144B57D}"/>
              </a:ext>
            </a:extLst>
          </p:cNvPr>
          <p:cNvSpPr/>
          <p:nvPr/>
        </p:nvSpPr>
        <p:spPr>
          <a:xfrm>
            <a:off x="5175471" y="1053160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35669B2F-D612-4664-B709-53D98132D57A}"/>
              </a:ext>
            </a:extLst>
          </p:cNvPr>
          <p:cNvSpPr txBox="1"/>
          <p:nvPr/>
        </p:nvSpPr>
        <p:spPr>
          <a:xfrm>
            <a:off x="5472652" y="1001353"/>
            <a:ext cx="15734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9" name="Přímá spojnice 18">
            <a:extLst>
              <a:ext uri="{FF2B5EF4-FFF2-40B4-BE49-F238E27FC236}">
                <a16:creationId xmlns:a16="http://schemas.microsoft.com/office/drawing/2014/main" id="{76B85254-1A7D-488E-9830-3F99A7742F43}"/>
              </a:ext>
            </a:extLst>
          </p:cNvPr>
          <p:cNvCxnSpPr>
            <a:cxnSpLocks/>
          </p:cNvCxnSpPr>
          <p:nvPr/>
        </p:nvCxnSpPr>
        <p:spPr>
          <a:xfrm>
            <a:off x="1637215" y="1131746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7DE1342D-EB8B-4B07-AF76-9D71853830EC}"/>
              </a:ext>
            </a:extLst>
          </p:cNvPr>
          <p:cNvSpPr txBox="1"/>
          <p:nvPr/>
        </p:nvSpPr>
        <p:spPr>
          <a:xfrm>
            <a:off x="1931960" y="1201931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0</a:t>
            </a:r>
          </a:p>
        </p:txBody>
      </p: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E4706C2C-C343-4CD4-BC4A-ED6979CFCE85}"/>
              </a:ext>
            </a:extLst>
          </p:cNvPr>
          <p:cNvCxnSpPr>
            <a:cxnSpLocks/>
          </p:cNvCxnSpPr>
          <p:nvPr/>
        </p:nvCxnSpPr>
        <p:spPr>
          <a:xfrm>
            <a:off x="1637215" y="1355053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24">
            <a:extLst>
              <a:ext uri="{FF2B5EF4-FFF2-40B4-BE49-F238E27FC236}">
                <a16:creationId xmlns:a16="http://schemas.microsoft.com/office/drawing/2014/main" id="{E453CAE8-274D-40EB-837F-1DFE06B3FC2E}"/>
              </a:ext>
            </a:extLst>
          </p:cNvPr>
          <p:cNvCxnSpPr>
            <a:cxnSpLocks/>
          </p:cNvCxnSpPr>
          <p:nvPr/>
        </p:nvCxnSpPr>
        <p:spPr>
          <a:xfrm>
            <a:off x="1637215" y="1583552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66CCB7E5-B893-4905-A783-B3A264BEFB90}"/>
              </a:ext>
            </a:extLst>
          </p:cNvPr>
          <p:cNvSpPr txBox="1"/>
          <p:nvPr/>
        </p:nvSpPr>
        <p:spPr>
          <a:xfrm>
            <a:off x="9546722" y="2199307"/>
            <a:ext cx="1945049" cy="100027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b="1" dirty="0">
                <a:solidFill>
                  <a:prstClr val="black"/>
                </a:solidFill>
                <a:latin typeface="Calibri" panose="020F0502020204030204"/>
              </a:rPr>
              <a:t>18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7. 2021</a:t>
            </a:r>
          </a:p>
          <a:p>
            <a:pPr lvl="0" algn="r"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7denní </a:t>
            </a:r>
            <a:r>
              <a:rPr lang="cs-CZ" sz="1100" dirty="0" err="1">
                <a:solidFill>
                  <a:prstClr val="black"/>
                </a:solidFill>
                <a:latin typeface="Calibri" panose="020F0502020204030204"/>
              </a:rPr>
              <a:t>kum</a:t>
            </a: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. počet na 100 tis.)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90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20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5 na 100 tisíc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266137AA-9182-40A3-A142-5179882050AD}"/>
              </a:ext>
            </a:extLst>
          </p:cNvPr>
          <p:cNvSpPr txBox="1"/>
          <p:nvPr/>
        </p:nvSpPr>
        <p:spPr>
          <a:xfrm>
            <a:off x="1924103" y="1434256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70</a:t>
            </a:r>
          </a:p>
          <a:p>
            <a:pPr lvl="0"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scénáře ze dne 1. 6. 2021, R aplikováno od 24. 5. 2021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E32A18E1-478B-49B3-B19F-744DF92D3F6C}"/>
              </a:ext>
            </a:extLst>
          </p:cNvPr>
          <p:cNvSpPr txBox="1"/>
          <p:nvPr/>
        </p:nvSpPr>
        <p:spPr>
          <a:xfrm>
            <a:off x="7273125" y="2199307"/>
            <a:ext cx="1945048" cy="100027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b="1" dirty="0">
                <a:solidFill>
                  <a:prstClr val="black"/>
                </a:solidFill>
                <a:latin typeface="Calibri" panose="020F0502020204030204"/>
              </a:rPr>
              <a:t>30. 6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2021 </a:t>
            </a:r>
            <a:b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7denní </a:t>
            </a:r>
            <a:r>
              <a:rPr lang="cs-CZ" sz="1100" dirty="0" err="1">
                <a:solidFill>
                  <a:prstClr val="black"/>
                </a:solidFill>
                <a:latin typeface="Calibri" panose="020F0502020204030204"/>
              </a:rPr>
              <a:t>kum</a:t>
            </a: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. počet na 100 tis.)</a:t>
            </a:r>
            <a:endParaRPr kumimoji="0" lang="cs-CZ" sz="12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64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24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8 na 100 tisíc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30" name="TextBox 6">
            <a:extLst>
              <a:ext uri="{FF2B5EF4-FFF2-40B4-BE49-F238E27FC236}">
                <a16:creationId xmlns:a16="http://schemas.microsoft.com/office/drawing/2014/main" id="{8B058FAD-246D-4FB5-9A38-9461A45D5931}"/>
              </a:ext>
            </a:extLst>
          </p:cNvPr>
          <p:cNvSpPr txBox="1"/>
          <p:nvPr/>
        </p:nvSpPr>
        <p:spPr>
          <a:xfrm rot="16200000">
            <a:off x="-1483263" y="3360473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2AE1522-C017-42C8-A5BD-E7F3E887F3AA}"/>
              </a:ext>
            </a:extLst>
          </p:cNvPr>
          <p:cNvSpPr txBox="1"/>
          <p:nvPr/>
        </p:nvSpPr>
        <p:spPr>
          <a:xfrm>
            <a:off x="7780712" y="1826572"/>
            <a:ext cx="29732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i="1" dirty="0"/>
              <a:t>Predikované hodnoty </a:t>
            </a:r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C2CDA8BD-006D-42A8-BA88-064DA323F845}"/>
              </a:ext>
            </a:extLst>
          </p:cNvPr>
          <p:cNvSpPr txBox="1"/>
          <p:nvPr/>
        </p:nvSpPr>
        <p:spPr>
          <a:xfrm>
            <a:off x="11610367" y="3814351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00" b="1" dirty="0">
                <a:latin typeface="Calibri" panose="020F0502020204030204" pitchFamily="34" charset="0"/>
                <a:cs typeface="Calibri" panose="020F0502020204030204" pitchFamily="34" charset="0"/>
              </a:rPr>
              <a:t>100</a:t>
            </a:r>
          </a:p>
          <a:p>
            <a:r>
              <a:rPr lang="cs-CZ" sz="800" dirty="0">
                <a:latin typeface="Calibri" panose="020F0502020204030204" pitchFamily="34" charset="0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5B77FD62-F375-40BF-A635-0F86D4274581}"/>
              </a:ext>
            </a:extLst>
          </p:cNvPr>
          <p:cNvSpPr txBox="1"/>
          <p:nvPr/>
        </p:nvSpPr>
        <p:spPr>
          <a:xfrm>
            <a:off x="11610367" y="4643153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00" b="1" dirty="0">
                <a:latin typeface="Calibri" panose="020F0502020204030204" pitchFamily="34" charset="0"/>
                <a:cs typeface="Calibri" panose="020F0502020204030204" pitchFamily="34" charset="0"/>
              </a:rPr>
              <a:t>50</a:t>
            </a:r>
          </a:p>
          <a:p>
            <a:r>
              <a:rPr lang="cs-CZ" sz="800" dirty="0">
                <a:latin typeface="Calibri" panose="020F0502020204030204" pitchFamily="34" charset="0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31" name="Nadpis 1">
            <a:extLst>
              <a:ext uri="{FF2B5EF4-FFF2-40B4-BE49-F238E27FC236}">
                <a16:creationId xmlns:a16="http://schemas.microsoft.com/office/drawing/2014/main" id="{CFCC2C02-F284-4941-91C6-5CC2566B6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en-US" sz="1800" dirty="0" err="1">
                <a:latin typeface="+mj-lt"/>
              </a:rPr>
              <a:t>Modelov</a:t>
            </a:r>
            <a:r>
              <a:rPr lang="cs-CZ" sz="1800" dirty="0">
                <a:latin typeface="+mj-lt"/>
              </a:rPr>
              <a:t>é scénáře: 7denní hodnoty na 100 tisíc obyvatel: </a:t>
            </a:r>
            <a:r>
              <a:rPr lang="cs-CZ" sz="1800" dirty="0"/>
              <a:t>Jihočeský kraj</a:t>
            </a:r>
            <a:endParaRPr lang="cs-CZ" sz="1800" dirty="0">
              <a:latin typeface="+mj-lt"/>
            </a:endParaRPr>
          </a:p>
        </p:txBody>
      </p: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EE744899-4831-4573-9408-495F16CA9A16}"/>
              </a:ext>
            </a:extLst>
          </p:cNvPr>
          <p:cNvSpPr txBox="1"/>
          <p:nvPr/>
        </p:nvSpPr>
        <p:spPr>
          <a:xfrm>
            <a:off x="228000" y="6456056"/>
            <a:ext cx="1173470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100" dirty="0">
                <a:solidFill>
                  <a:schemeClr val="accent1"/>
                </a:solidFill>
              </a:rPr>
              <a:t>Hodnota celorepublikového modelu byla lokalizovaná do příslušného kraje se zohledněním trendu nárůstu ve dnech 24. 5. až 31. 5.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44E56BAA-D2B6-477F-92E5-91C0FE4B889D}"/>
              </a:ext>
            </a:extLst>
          </p:cNvPr>
          <p:cNvGrpSpPr/>
          <p:nvPr/>
        </p:nvGrpSpPr>
        <p:grpSpPr>
          <a:xfrm>
            <a:off x="11226729" y="603793"/>
            <a:ext cx="933372" cy="306063"/>
            <a:chOff x="12375318" y="1202167"/>
            <a:chExt cx="1654215" cy="542435"/>
          </a:xfrm>
        </p:grpSpPr>
        <p:pic>
          <p:nvPicPr>
            <p:cNvPr id="33" name="Obrázek 32">
              <a:extLst>
                <a:ext uri="{FF2B5EF4-FFF2-40B4-BE49-F238E27FC236}">
                  <a16:creationId xmlns:a16="http://schemas.microsoft.com/office/drawing/2014/main" id="{A3DF257B-B72D-4A98-990E-9A7F81FB76F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2375318" y="1275248"/>
              <a:ext cx="371898" cy="447173"/>
            </a:xfrm>
            <a:prstGeom prst="rect">
              <a:avLst/>
            </a:prstGeom>
          </p:spPr>
        </p:pic>
        <p:pic>
          <p:nvPicPr>
            <p:cNvPr id="34" name="Obrázek 33">
              <a:extLst>
                <a:ext uri="{FF2B5EF4-FFF2-40B4-BE49-F238E27FC236}">
                  <a16:creationId xmlns:a16="http://schemas.microsoft.com/office/drawing/2014/main" id="{5F9C1474-D0A7-48EC-9CE7-C3A528AF63F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2760" t="24183" b="15901"/>
            <a:stretch/>
          </p:blipFill>
          <p:spPr>
            <a:xfrm>
              <a:off x="12855762" y="1202167"/>
              <a:ext cx="1173771" cy="542435"/>
            </a:xfrm>
            <a:prstGeom prst="rect">
              <a:avLst/>
            </a:prstGeom>
          </p:spPr>
        </p:pic>
      </p:grp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1F955A95-7D5F-43EB-A1C9-5391885AFF52}"/>
              </a:ext>
            </a:extLst>
          </p:cNvPr>
          <p:cNvSpPr txBox="1"/>
          <p:nvPr/>
        </p:nvSpPr>
        <p:spPr>
          <a:xfrm>
            <a:off x="5470252" y="1231063"/>
            <a:ext cx="194504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pl-PL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 uzavřenému dni 27. 6. 2021</a:t>
            </a: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49473444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B1276870-99EE-4D94-8977-D4A2442A6BF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00477506"/>
              </p:ext>
            </p:extLst>
          </p:nvPr>
        </p:nvGraphicFramePr>
        <p:xfrm>
          <a:off x="556549" y="3273786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399F9D63-C378-4018-B97A-C6FF1B38BBF2}"/>
              </a:ext>
            </a:extLst>
          </p:cNvPr>
          <p:cNvSpPr txBox="1"/>
          <p:nvPr/>
        </p:nvSpPr>
        <p:spPr>
          <a:xfrm>
            <a:off x="214075" y="1050497"/>
            <a:ext cx="38671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 dle hodnoty reprodukčního čísla 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69B8FCCD-AB42-495D-8900-E0EDAF4D3695}"/>
              </a:ext>
            </a:extLst>
          </p:cNvPr>
          <p:cNvSpPr txBox="1"/>
          <p:nvPr/>
        </p:nvSpPr>
        <p:spPr>
          <a:xfrm>
            <a:off x="4792918" y="638978"/>
            <a:ext cx="5031486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vý scénář (R = 1,10)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915432FB-02C6-4A48-823E-AAFFD38F04CD}"/>
              </a:ext>
            </a:extLst>
          </p:cNvPr>
          <p:cNvSpPr txBox="1"/>
          <p:nvPr/>
        </p:nvSpPr>
        <p:spPr>
          <a:xfrm>
            <a:off x="4792918" y="1947883"/>
            <a:ext cx="5031486" cy="369332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zpomalení (R = 0,70)</a:t>
            </a:r>
          </a:p>
        </p:txBody>
      </p:sp>
      <p:cxnSp>
        <p:nvCxnSpPr>
          <p:cNvPr id="10" name="Přímá spojnice se šipkou 9">
            <a:extLst>
              <a:ext uri="{FF2B5EF4-FFF2-40B4-BE49-F238E27FC236}">
                <a16:creationId xmlns:a16="http://schemas.microsoft.com/office/drawing/2014/main" id="{2FBBF0DE-751C-4A8D-9688-745F518DEA63}"/>
              </a:ext>
            </a:extLst>
          </p:cNvPr>
          <p:cNvCxnSpPr/>
          <p:nvPr/>
        </p:nvCxnSpPr>
        <p:spPr>
          <a:xfrm flipV="1">
            <a:off x="4154743" y="864532"/>
            <a:ext cx="523875" cy="56949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Přímá spojnice se šipkou 10">
            <a:extLst>
              <a:ext uri="{FF2B5EF4-FFF2-40B4-BE49-F238E27FC236}">
                <a16:creationId xmlns:a16="http://schemas.microsoft.com/office/drawing/2014/main" id="{427BD7B2-178E-45A0-B634-921C0C8A629F}"/>
              </a:ext>
            </a:extLst>
          </p:cNvPr>
          <p:cNvCxnSpPr/>
          <p:nvPr/>
        </p:nvCxnSpPr>
        <p:spPr>
          <a:xfrm>
            <a:off x="4154743" y="1503447"/>
            <a:ext cx="523875" cy="64073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6">
            <a:extLst>
              <a:ext uri="{FF2B5EF4-FFF2-40B4-BE49-F238E27FC236}">
                <a16:creationId xmlns:a16="http://schemas.microsoft.com/office/drawing/2014/main" id="{69CEF138-18A8-4271-9FEF-402DB7C25B86}"/>
              </a:ext>
            </a:extLst>
          </p:cNvPr>
          <p:cNvSpPr txBox="1"/>
          <p:nvPr/>
        </p:nvSpPr>
        <p:spPr>
          <a:xfrm>
            <a:off x="489851" y="2893021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D297EC6B-32AF-493A-B2A7-B285C8CEF178}"/>
              </a:ext>
            </a:extLst>
          </p:cNvPr>
          <p:cNvSpPr txBox="1"/>
          <p:nvPr/>
        </p:nvSpPr>
        <p:spPr>
          <a:xfrm>
            <a:off x="4475378" y="2789253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10</a:t>
            </a: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3C9B186B-8163-428B-A364-E90D3144B57D}"/>
              </a:ext>
            </a:extLst>
          </p:cNvPr>
          <p:cNvSpPr/>
          <p:nvPr/>
        </p:nvSpPr>
        <p:spPr>
          <a:xfrm>
            <a:off x="7952761" y="2841929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35669B2F-D612-4664-B709-53D98132D57A}"/>
              </a:ext>
            </a:extLst>
          </p:cNvPr>
          <p:cNvSpPr txBox="1"/>
          <p:nvPr/>
        </p:nvSpPr>
        <p:spPr>
          <a:xfrm>
            <a:off x="8249942" y="2790122"/>
            <a:ext cx="15734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9" name="Přímá spojnice 18">
            <a:extLst>
              <a:ext uri="{FF2B5EF4-FFF2-40B4-BE49-F238E27FC236}">
                <a16:creationId xmlns:a16="http://schemas.microsoft.com/office/drawing/2014/main" id="{76B85254-1A7D-488E-9830-3F99A7742F43}"/>
              </a:ext>
            </a:extLst>
          </p:cNvPr>
          <p:cNvCxnSpPr>
            <a:cxnSpLocks/>
          </p:cNvCxnSpPr>
          <p:nvPr/>
        </p:nvCxnSpPr>
        <p:spPr>
          <a:xfrm>
            <a:off x="4180633" y="2944288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7DE1342D-EB8B-4B07-AF76-9D71853830EC}"/>
              </a:ext>
            </a:extLst>
          </p:cNvPr>
          <p:cNvSpPr txBox="1"/>
          <p:nvPr/>
        </p:nvSpPr>
        <p:spPr>
          <a:xfrm>
            <a:off x="4475378" y="3014473"/>
            <a:ext cx="313540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0	</a:t>
            </a:r>
          </a:p>
        </p:txBody>
      </p: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E4706C2C-C343-4CD4-BC4A-ED6979CFCE85}"/>
              </a:ext>
            </a:extLst>
          </p:cNvPr>
          <p:cNvCxnSpPr>
            <a:cxnSpLocks/>
          </p:cNvCxnSpPr>
          <p:nvPr/>
        </p:nvCxnSpPr>
        <p:spPr>
          <a:xfrm>
            <a:off x="4180633" y="3167595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24">
            <a:extLst>
              <a:ext uri="{FF2B5EF4-FFF2-40B4-BE49-F238E27FC236}">
                <a16:creationId xmlns:a16="http://schemas.microsoft.com/office/drawing/2014/main" id="{E453CAE8-274D-40EB-837F-1DFE06B3FC2E}"/>
              </a:ext>
            </a:extLst>
          </p:cNvPr>
          <p:cNvCxnSpPr>
            <a:cxnSpLocks/>
          </p:cNvCxnSpPr>
          <p:nvPr/>
        </p:nvCxnSpPr>
        <p:spPr>
          <a:xfrm>
            <a:off x="4180633" y="3387705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66CCB7E5-B893-4905-A783-B3A264BEFB90}"/>
              </a:ext>
            </a:extLst>
          </p:cNvPr>
          <p:cNvSpPr txBox="1"/>
          <p:nvPr/>
        </p:nvSpPr>
        <p:spPr>
          <a:xfrm>
            <a:off x="10091064" y="4065325"/>
            <a:ext cx="1544387" cy="83099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8. </a:t>
            </a:r>
            <a:r>
              <a:rPr lang="cs-CZ" sz="1200" b="1" dirty="0">
                <a:solidFill>
                  <a:prstClr val="black"/>
                </a:solidFill>
                <a:latin typeface="Calibri" panose="020F0502020204030204"/>
              </a:rPr>
              <a:t>7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2021</a:t>
            </a: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47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9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2 predikovaných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266137AA-9182-40A3-A142-5179882050AD}"/>
              </a:ext>
            </a:extLst>
          </p:cNvPr>
          <p:cNvSpPr txBox="1"/>
          <p:nvPr/>
        </p:nvSpPr>
        <p:spPr>
          <a:xfrm>
            <a:off x="4467521" y="3238409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7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</a:t>
            </a: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6. 2021, R aplikováno od 24. 5. 2021)</a:t>
            </a: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E32A18E1-478B-49B3-B19F-744DF92D3F6C}"/>
              </a:ext>
            </a:extLst>
          </p:cNvPr>
          <p:cNvSpPr txBox="1"/>
          <p:nvPr/>
        </p:nvSpPr>
        <p:spPr>
          <a:xfrm>
            <a:off x="7780712" y="4294618"/>
            <a:ext cx="1544387" cy="83099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b="1" dirty="0">
                <a:solidFill>
                  <a:prstClr val="black"/>
                </a:solidFill>
                <a:latin typeface="Calibri" panose="020F0502020204030204"/>
              </a:rPr>
              <a:t>30. 6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2021</a:t>
            </a: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33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12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4 predikovaných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22" name="Nadpis 1">
            <a:extLst>
              <a:ext uri="{FF2B5EF4-FFF2-40B4-BE49-F238E27FC236}">
                <a16:creationId xmlns:a16="http://schemas.microsoft.com/office/drawing/2014/main" id="{6518D429-51CE-40C1-89F9-ADE1A20304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ce ve třech scénářích: Plzeňský kraj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C62FD582-F127-4B26-8DD9-E7C97F101DA5}"/>
              </a:ext>
            </a:extLst>
          </p:cNvPr>
          <p:cNvGrpSpPr/>
          <p:nvPr/>
        </p:nvGrpSpPr>
        <p:grpSpPr>
          <a:xfrm>
            <a:off x="10808484" y="603203"/>
            <a:ext cx="1351617" cy="270349"/>
            <a:chOff x="12377686" y="5757722"/>
            <a:chExt cx="1982477" cy="396533"/>
          </a:xfrm>
        </p:grpSpPr>
        <p:pic>
          <p:nvPicPr>
            <p:cNvPr id="30" name="Obrázek 29">
              <a:extLst>
                <a:ext uri="{FF2B5EF4-FFF2-40B4-BE49-F238E27FC236}">
                  <a16:creationId xmlns:a16="http://schemas.microsoft.com/office/drawing/2014/main" id="{2D95C4C7-A26F-406C-9CEE-DD7B3290363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2377686" y="5788188"/>
              <a:ext cx="304979" cy="365828"/>
            </a:xfrm>
            <a:prstGeom prst="rect">
              <a:avLst/>
            </a:prstGeom>
          </p:spPr>
        </p:pic>
        <p:pic>
          <p:nvPicPr>
            <p:cNvPr id="31" name="Obrázek 30">
              <a:extLst>
                <a:ext uri="{FF2B5EF4-FFF2-40B4-BE49-F238E27FC236}">
                  <a16:creationId xmlns:a16="http://schemas.microsoft.com/office/drawing/2014/main" id="{E1FE654C-29EB-40A0-B22D-E3EE463F233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845786" y="5757722"/>
              <a:ext cx="1514377" cy="396533"/>
            </a:xfrm>
            <a:prstGeom prst="rect">
              <a:avLst/>
            </a:prstGeom>
          </p:spPr>
        </p:pic>
      </p:grp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56F32BAF-B17C-4CAF-B276-7F6975E2DD6F}"/>
              </a:ext>
            </a:extLst>
          </p:cNvPr>
          <p:cNvSpPr txBox="1"/>
          <p:nvPr/>
        </p:nvSpPr>
        <p:spPr>
          <a:xfrm>
            <a:off x="8249942" y="3001602"/>
            <a:ext cx="194504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pl-PL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 uzavřenému dni 27. 6. 2021</a:t>
            </a: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05896210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ulka 9">
            <a:extLst>
              <a:ext uri="{FF2B5EF4-FFF2-40B4-BE49-F238E27FC236}">
                <a16:creationId xmlns:a16="http://schemas.microsoft.com/office/drawing/2014/main" id="{2CDF3C9D-B366-482C-9DEE-848BF9D72A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30606247"/>
              </p:ext>
            </p:extLst>
          </p:nvPr>
        </p:nvGraphicFramePr>
        <p:xfrm>
          <a:off x="45720" y="1318054"/>
          <a:ext cx="12108951" cy="5019468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18422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3468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93810515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272550134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889585356"/>
                    </a:ext>
                  </a:extLst>
                </a:gridCol>
                <a:gridCol w="1116000">
                  <a:extLst>
                    <a:ext uri="{9D8B030D-6E8A-4147-A177-3AD203B41FA5}">
                      <a16:colId xmlns:a16="http://schemas.microsoft.com/office/drawing/2014/main" val="3083214646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487868241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891010204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340384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264344487"/>
                    </a:ext>
                  </a:extLst>
                </a:gridCol>
                <a:gridCol w="1008000">
                  <a:extLst>
                    <a:ext uri="{9D8B030D-6E8A-4147-A177-3AD203B41FA5}">
                      <a16:colId xmlns:a16="http://schemas.microsoft.com/office/drawing/2014/main" val="13148050"/>
                    </a:ext>
                  </a:extLst>
                </a:gridCol>
                <a:gridCol w="1008000">
                  <a:extLst>
                    <a:ext uri="{9D8B030D-6E8A-4147-A177-3AD203B41FA5}">
                      <a16:colId xmlns:a16="http://schemas.microsoft.com/office/drawing/2014/main" val="1091220691"/>
                    </a:ext>
                  </a:extLst>
                </a:gridCol>
              </a:tblGrid>
              <a:tr h="822960">
                <a:tc>
                  <a:txBody>
                    <a:bodyPr/>
                    <a:lstStyle/>
                    <a:p>
                      <a:pPr algn="l"/>
                      <a:endParaRPr lang="cs-CZ" sz="16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cs-CZ" sz="1600" u="sng" dirty="0"/>
                        <a:t>Predikovaný celkový počet</a:t>
                      </a:r>
                      <a:r>
                        <a:rPr lang="cs-CZ" sz="1600" u="none" dirty="0"/>
                        <a:t> </a:t>
                      </a:r>
                      <a:br>
                        <a:rPr lang="cs-CZ" sz="1600" u="none" dirty="0"/>
                      </a:br>
                      <a:r>
                        <a:rPr lang="cs-CZ" sz="1600" u="none" dirty="0"/>
                        <a:t>N</a:t>
                      </a:r>
                      <a:r>
                        <a:rPr lang="cs-CZ" sz="1600" dirty="0"/>
                        <a:t>ově prokázané nákazy COVID-19</a:t>
                      </a:r>
                      <a:endParaRPr lang="cs-CZ" sz="1600" b="1" dirty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alita: naměřené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odnot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u="sng" dirty="0"/>
                        <a:t>Predikovaný průměrný denní počet</a:t>
                      </a:r>
                      <a:r>
                        <a:rPr lang="cs-CZ" sz="1600" dirty="0"/>
                        <a:t> Nově prokázané nákazy COVID-19</a:t>
                      </a:r>
                      <a:endParaRPr lang="cs-CZ" sz="16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600" b="1" dirty="0"/>
                        <a:t>Realita: naměřené</a:t>
                      </a:r>
                    </a:p>
                    <a:p>
                      <a:pPr algn="ctr"/>
                      <a:r>
                        <a:rPr lang="cs-CZ" sz="1600" b="1" dirty="0"/>
                        <a:t>hodnoty</a:t>
                      </a:r>
                      <a:endParaRPr lang="en-US" sz="16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16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87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odnota R</a:t>
                      </a:r>
                      <a:br>
                        <a:rPr lang="cs-CZ" sz="16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od 24</a:t>
                      </a:r>
                      <a:r>
                        <a:rPr lang="en-US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r>
                        <a:rPr lang="cs-CZ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5.)</a:t>
                      </a:r>
                      <a:endParaRPr lang="cs-CZ" sz="16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7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8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9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,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</a:t>
                      </a:r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FF"/>
                        </a:highlight>
                        <a:latin typeface="+mj-lt"/>
                      </a:endParaRP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7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8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9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,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</a:t>
                      </a:r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FF"/>
                        </a:highlight>
                        <a:latin typeface="+mj-lt"/>
                      </a:endParaRP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highlight>
                            <a:srgbClr val="FFFFFF"/>
                          </a:highlight>
                        </a:rPr>
                        <a:t>denní průměr včetně víkendů</a:t>
                      </a:r>
                      <a:endParaRPr lang="en-US" sz="1200" dirty="0">
                        <a:highlight>
                          <a:srgbClr val="FFFFFF"/>
                        </a:highlight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highlight>
                            <a:srgbClr val="FFFFFF"/>
                          </a:highlight>
                        </a:rPr>
                        <a:t>denní průměr v pracovních dnech</a:t>
                      </a:r>
                      <a:endParaRPr lang="cs-CZ" sz="1200" dirty="0">
                        <a:highlight>
                          <a:srgbClr val="FFFFFF"/>
                        </a:highlight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8491739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indent="0" algn="l" fontAlgn="b"/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  <a:r>
                        <a:rPr lang="cs-CZ" sz="1450" b="1" u="none" strike="noStrike" dirty="0">
                          <a:effectLst/>
                        </a:rPr>
                        <a:t>.–13. 6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 tisíce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 tisíce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6621032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50" u="none" strike="noStrike" dirty="0">
                          <a:effectLst/>
                        </a:rPr>
                        <a:t>Období </a:t>
                      </a:r>
                      <a:r>
                        <a:rPr lang="cs-CZ" sz="1450" b="1" u="none" strike="noStrike" dirty="0">
                          <a:effectLst/>
                        </a:rPr>
                        <a:t>14.–20. 6.</a:t>
                      </a:r>
                      <a:endParaRPr lang="cs-CZ" sz="14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 tisíce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62736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1</a:t>
                      </a:r>
                      <a:r>
                        <a:rPr lang="cs-CZ" sz="1450" b="1" u="none" strike="noStrike" dirty="0">
                          <a:effectLst/>
                        </a:rPr>
                        <a:t>.–27. 6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 tisíce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3466947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indent="0" algn="l" fontAlgn="b"/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8. 6.</a:t>
                      </a:r>
                      <a:r>
                        <a:rPr lang="cs-CZ" sz="1450" b="1" u="none" strike="noStrike" dirty="0">
                          <a:effectLst/>
                        </a:rPr>
                        <a:t>–4. 7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 tisíce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7246171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.</a:t>
                      </a:r>
                      <a:r>
                        <a:rPr lang="cs-CZ" sz="1450" b="1" u="none" strike="noStrike" dirty="0">
                          <a:effectLst/>
                        </a:rPr>
                        <a:t>–11. 7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 tisíce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9339872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.</a:t>
                      </a:r>
                      <a:r>
                        <a:rPr lang="cs-CZ" sz="1450" b="1" u="none" strike="noStrike" dirty="0">
                          <a:effectLst/>
                        </a:rPr>
                        <a:t>–18. 7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 tisíce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651041"/>
                  </a:ext>
                </a:extLst>
              </a:tr>
            </a:tbl>
          </a:graphicData>
        </a:graphic>
      </p:graphicFrame>
      <p:sp>
        <p:nvSpPr>
          <p:cNvPr id="9" name="TextovéPole 8">
            <a:extLst>
              <a:ext uri="{FF2B5EF4-FFF2-40B4-BE49-F238E27FC236}">
                <a16:creationId xmlns:a16="http://schemas.microsoft.com/office/drawing/2014/main" id="{E4A0DC13-0AB7-42C0-B44A-C8095E8723E9}"/>
              </a:ext>
            </a:extLst>
          </p:cNvPr>
          <p:cNvSpPr txBox="1"/>
          <p:nvPr/>
        </p:nvSpPr>
        <p:spPr>
          <a:xfrm>
            <a:off x="45720" y="6388483"/>
            <a:ext cx="12090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200" dirty="0">
                <a:solidFill>
                  <a:schemeClr val="accent1"/>
                </a:solidFill>
              </a:rPr>
              <a:t>Predikované počty odpovídají modelovaným hodnotám (kalibrovaným na hodnoty pozorované v pracovních dnech), naměřené hodnoty zahrnují všechny počty hlášené do databáze, včetně potenciálně nižších záchytů nemoci v nepracovních dnech. V případě denního průměrného počtu jsou uvedeny i hodnoty, které zahrnují pouze pracovní dny.</a:t>
            </a:r>
          </a:p>
        </p:txBody>
      </p:sp>
      <p:sp>
        <p:nvSpPr>
          <p:cNvPr id="8" name="Nadpis 1">
            <a:extLst>
              <a:ext uri="{FF2B5EF4-FFF2-40B4-BE49-F238E27FC236}">
                <a16:creationId xmlns:a16="http://schemas.microsoft.com/office/drawing/2014/main" id="{DBBDF33E-D7ED-4B93-A481-745FE41008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558611" cy="576000"/>
          </a:xfrm>
        </p:spPr>
        <p:txBody>
          <a:bodyPr/>
          <a:lstStyle/>
          <a:p>
            <a:r>
              <a:rPr lang="cs-CZ" dirty="0" err="1"/>
              <a:t>Rekalibrace</a:t>
            </a:r>
            <a:r>
              <a:rPr lang="cs-CZ" dirty="0"/>
              <a:t> prediktivního modelu pro </a:t>
            </a:r>
            <a:r>
              <a:rPr lang="cs-CZ" u="sng" dirty="0"/>
              <a:t>nové scénáře</a:t>
            </a:r>
            <a:r>
              <a:rPr lang="cs-CZ" dirty="0"/>
              <a:t>: Plzeňský kraj</a:t>
            </a:r>
          </a:p>
        </p:txBody>
      </p:sp>
      <p:grpSp>
        <p:nvGrpSpPr>
          <p:cNvPr id="6" name="Skupina 5">
            <a:extLst>
              <a:ext uri="{FF2B5EF4-FFF2-40B4-BE49-F238E27FC236}">
                <a16:creationId xmlns:a16="http://schemas.microsoft.com/office/drawing/2014/main" id="{9C3E66E8-CDE3-41FB-959D-0FA2B4D78472}"/>
              </a:ext>
            </a:extLst>
          </p:cNvPr>
          <p:cNvGrpSpPr/>
          <p:nvPr/>
        </p:nvGrpSpPr>
        <p:grpSpPr>
          <a:xfrm>
            <a:off x="10808484" y="962963"/>
            <a:ext cx="1351617" cy="270349"/>
            <a:chOff x="12377686" y="5757722"/>
            <a:chExt cx="1982477" cy="396533"/>
          </a:xfrm>
        </p:grpSpPr>
        <p:pic>
          <p:nvPicPr>
            <p:cNvPr id="7" name="Obrázek 6">
              <a:extLst>
                <a:ext uri="{FF2B5EF4-FFF2-40B4-BE49-F238E27FC236}">
                  <a16:creationId xmlns:a16="http://schemas.microsoft.com/office/drawing/2014/main" id="{4688BD27-408D-470E-A5CC-4B502018B41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377686" y="5788188"/>
              <a:ext cx="304979" cy="365828"/>
            </a:xfrm>
            <a:prstGeom prst="rect">
              <a:avLst/>
            </a:prstGeom>
          </p:spPr>
        </p:pic>
        <p:pic>
          <p:nvPicPr>
            <p:cNvPr id="11" name="Obrázek 10">
              <a:extLst>
                <a:ext uri="{FF2B5EF4-FFF2-40B4-BE49-F238E27FC236}">
                  <a16:creationId xmlns:a16="http://schemas.microsoft.com/office/drawing/2014/main" id="{015C5195-CE8D-4B93-9C04-A2E4CB755C2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845786" y="5757722"/>
              <a:ext cx="1514377" cy="396533"/>
            </a:xfrm>
            <a:prstGeom prst="rect">
              <a:avLst/>
            </a:prstGeom>
          </p:spPr>
        </p:pic>
      </p:grp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A78DAB5D-003A-4E6B-9458-02879A62EBD9}"/>
              </a:ext>
            </a:extLst>
          </p:cNvPr>
          <p:cNvSpPr txBox="1"/>
          <p:nvPr/>
        </p:nvSpPr>
        <p:spPr>
          <a:xfrm>
            <a:off x="0" y="576002"/>
            <a:ext cx="1231394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600" b="1" dirty="0">
                <a:solidFill>
                  <a:srgbClr val="000000"/>
                </a:solidFill>
              </a:rPr>
              <a:t>Epidemické křivky vytvořeny pomocí modelu pro krátkodobé predikce ÚZIS ČR, </a:t>
            </a:r>
            <a:r>
              <a:rPr lang="pl-PL" sz="1600" b="1" u="sng" dirty="0">
                <a:solidFill>
                  <a:srgbClr val="000000"/>
                </a:solidFill>
              </a:rPr>
              <a:t>predikce odpovídá údajům z 1. 6. 2021.</a:t>
            </a:r>
            <a:endParaRPr lang="cs-CZ" sz="1600" b="1" u="sng" dirty="0">
              <a:solidFill>
                <a:srgbClr val="000000"/>
              </a:solidFill>
            </a:endParaRPr>
          </a:p>
          <a:p>
            <a:pPr lvl="0">
              <a:defRPr/>
            </a:pPr>
            <a:r>
              <a:rPr lang="cs-CZ" sz="1200" b="1" dirty="0">
                <a:solidFill>
                  <a:srgbClr val="000000"/>
                </a:solidFill>
              </a:rPr>
              <a:t>Hodnota celorepublikového modelu byla lokalizovaná do příslušného kraje se zohledněním trendu nárůstu ve </a:t>
            </a:r>
            <a:r>
              <a:rPr lang="pl-PL" sz="1200" b="1" dirty="0">
                <a:solidFill>
                  <a:srgbClr val="000000"/>
                </a:solidFill>
              </a:rPr>
              <a:t>dnech 24. 5. až 31. 5.</a:t>
            </a:r>
          </a:p>
          <a:p>
            <a:pPr lvl="0">
              <a:defRPr/>
            </a:pPr>
            <a:r>
              <a:rPr lang="cs-CZ" sz="1200" b="1" dirty="0">
                <a:solidFill>
                  <a:srgbClr val="000000"/>
                </a:solidFill>
              </a:rPr>
              <a:t>Naměřené hodnoty jsou aktuální </a:t>
            </a:r>
            <a:r>
              <a:rPr lang="pl-PL" sz="1200" b="1" dirty="0">
                <a:solidFill>
                  <a:srgbClr val="000000"/>
                </a:solidFill>
              </a:rPr>
              <a:t>k uzavřenému dni 27. 6. 2021</a:t>
            </a:r>
            <a:r>
              <a:rPr lang="cs-CZ" sz="1200" b="1" dirty="0">
                <a:solidFill>
                  <a:srgbClr val="000000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95615330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B1276870-99EE-4D94-8977-D4A2442A6BF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08524243"/>
              </p:ext>
            </p:extLst>
          </p:nvPr>
        </p:nvGraphicFramePr>
        <p:xfrm>
          <a:off x="556549" y="867747"/>
          <a:ext cx="11354940" cy="5955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5" name="TextovéPole 14">
            <a:extLst>
              <a:ext uri="{FF2B5EF4-FFF2-40B4-BE49-F238E27FC236}">
                <a16:creationId xmlns:a16="http://schemas.microsoft.com/office/drawing/2014/main" id="{D297EC6B-32AF-493A-B2A7-B285C8CEF178}"/>
              </a:ext>
            </a:extLst>
          </p:cNvPr>
          <p:cNvSpPr txBox="1"/>
          <p:nvPr/>
        </p:nvSpPr>
        <p:spPr>
          <a:xfrm>
            <a:off x="1931960" y="976711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10</a:t>
            </a: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3C9B186B-8163-428B-A364-E90D3144B57D}"/>
              </a:ext>
            </a:extLst>
          </p:cNvPr>
          <p:cNvSpPr/>
          <p:nvPr/>
        </p:nvSpPr>
        <p:spPr>
          <a:xfrm>
            <a:off x="5175471" y="1053160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35669B2F-D612-4664-B709-53D98132D57A}"/>
              </a:ext>
            </a:extLst>
          </p:cNvPr>
          <p:cNvSpPr txBox="1"/>
          <p:nvPr/>
        </p:nvSpPr>
        <p:spPr>
          <a:xfrm>
            <a:off x="5472652" y="1001353"/>
            <a:ext cx="15734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9" name="Přímá spojnice 18">
            <a:extLst>
              <a:ext uri="{FF2B5EF4-FFF2-40B4-BE49-F238E27FC236}">
                <a16:creationId xmlns:a16="http://schemas.microsoft.com/office/drawing/2014/main" id="{76B85254-1A7D-488E-9830-3F99A7742F43}"/>
              </a:ext>
            </a:extLst>
          </p:cNvPr>
          <p:cNvCxnSpPr>
            <a:cxnSpLocks/>
          </p:cNvCxnSpPr>
          <p:nvPr/>
        </p:nvCxnSpPr>
        <p:spPr>
          <a:xfrm>
            <a:off x="1637215" y="1131746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7DE1342D-EB8B-4B07-AF76-9D71853830EC}"/>
              </a:ext>
            </a:extLst>
          </p:cNvPr>
          <p:cNvSpPr txBox="1"/>
          <p:nvPr/>
        </p:nvSpPr>
        <p:spPr>
          <a:xfrm>
            <a:off x="1931960" y="1201931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0</a:t>
            </a:r>
          </a:p>
        </p:txBody>
      </p: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E4706C2C-C343-4CD4-BC4A-ED6979CFCE85}"/>
              </a:ext>
            </a:extLst>
          </p:cNvPr>
          <p:cNvCxnSpPr>
            <a:cxnSpLocks/>
          </p:cNvCxnSpPr>
          <p:nvPr/>
        </p:nvCxnSpPr>
        <p:spPr>
          <a:xfrm>
            <a:off x="1637215" y="1355053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24">
            <a:extLst>
              <a:ext uri="{FF2B5EF4-FFF2-40B4-BE49-F238E27FC236}">
                <a16:creationId xmlns:a16="http://schemas.microsoft.com/office/drawing/2014/main" id="{E453CAE8-274D-40EB-837F-1DFE06B3FC2E}"/>
              </a:ext>
            </a:extLst>
          </p:cNvPr>
          <p:cNvCxnSpPr>
            <a:cxnSpLocks/>
          </p:cNvCxnSpPr>
          <p:nvPr/>
        </p:nvCxnSpPr>
        <p:spPr>
          <a:xfrm>
            <a:off x="1637215" y="1583552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66CCB7E5-B893-4905-A783-B3A264BEFB90}"/>
              </a:ext>
            </a:extLst>
          </p:cNvPr>
          <p:cNvSpPr txBox="1"/>
          <p:nvPr/>
        </p:nvSpPr>
        <p:spPr>
          <a:xfrm>
            <a:off x="9546722" y="2199307"/>
            <a:ext cx="1945049" cy="100027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b="1" dirty="0">
                <a:solidFill>
                  <a:prstClr val="black"/>
                </a:solidFill>
                <a:latin typeface="Calibri" panose="020F0502020204030204"/>
              </a:rPr>
              <a:t>18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7. 2021</a:t>
            </a:r>
          </a:p>
          <a:p>
            <a:pPr lvl="0" algn="r"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7denní </a:t>
            </a:r>
            <a:r>
              <a:rPr lang="cs-CZ" sz="1100" dirty="0" err="1">
                <a:solidFill>
                  <a:prstClr val="black"/>
                </a:solidFill>
                <a:latin typeface="Calibri" panose="020F0502020204030204"/>
              </a:rPr>
              <a:t>kum</a:t>
            </a: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. počet na 100 tis.)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53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12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2 na 100 tisíc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266137AA-9182-40A3-A142-5179882050AD}"/>
              </a:ext>
            </a:extLst>
          </p:cNvPr>
          <p:cNvSpPr txBox="1"/>
          <p:nvPr/>
        </p:nvSpPr>
        <p:spPr>
          <a:xfrm>
            <a:off x="1924103" y="1434256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70</a:t>
            </a:r>
          </a:p>
          <a:p>
            <a:pPr lvl="0"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scénáře ze dne 1. 6. 2021, R aplikováno od 24. 5. 2021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E32A18E1-478B-49B3-B19F-744DF92D3F6C}"/>
              </a:ext>
            </a:extLst>
          </p:cNvPr>
          <p:cNvSpPr txBox="1"/>
          <p:nvPr/>
        </p:nvSpPr>
        <p:spPr>
          <a:xfrm>
            <a:off x="7273125" y="2199307"/>
            <a:ext cx="1945048" cy="100027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b="1" dirty="0">
                <a:solidFill>
                  <a:prstClr val="black"/>
                </a:solidFill>
                <a:latin typeface="Calibri" panose="020F0502020204030204"/>
              </a:rPr>
              <a:t>30. 6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2021 </a:t>
            </a:r>
            <a:b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7denní </a:t>
            </a:r>
            <a:r>
              <a:rPr lang="cs-CZ" sz="1100" dirty="0" err="1">
                <a:solidFill>
                  <a:prstClr val="black"/>
                </a:solidFill>
                <a:latin typeface="Calibri" panose="020F0502020204030204"/>
              </a:rPr>
              <a:t>kum</a:t>
            </a: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. počet na 100 tis.)</a:t>
            </a:r>
            <a:endParaRPr kumimoji="0" lang="cs-CZ" sz="12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37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14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5 na 100 tisíc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30" name="TextBox 6">
            <a:extLst>
              <a:ext uri="{FF2B5EF4-FFF2-40B4-BE49-F238E27FC236}">
                <a16:creationId xmlns:a16="http://schemas.microsoft.com/office/drawing/2014/main" id="{8B058FAD-246D-4FB5-9A38-9461A45D5931}"/>
              </a:ext>
            </a:extLst>
          </p:cNvPr>
          <p:cNvSpPr txBox="1"/>
          <p:nvPr/>
        </p:nvSpPr>
        <p:spPr>
          <a:xfrm rot="16200000">
            <a:off x="-1483263" y="3360473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2AE1522-C017-42C8-A5BD-E7F3E887F3AA}"/>
              </a:ext>
            </a:extLst>
          </p:cNvPr>
          <p:cNvSpPr txBox="1"/>
          <p:nvPr/>
        </p:nvSpPr>
        <p:spPr>
          <a:xfrm>
            <a:off x="7780712" y="1826572"/>
            <a:ext cx="29732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i="1" dirty="0"/>
              <a:t>Predikované hodnoty </a:t>
            </a:r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C2CDA8BD-006D-42A8-BA88-064DA323F845}"/>
              </a:ext>
            </a:extLst>
          </p:cNvPr>
          <p:cNvSpPr txBox="1"/>
          <p:nvPr/>
        </p:nvSpPr>
        <p:spPr>
          <a:xfrm>
            <a:off x="11558187" y="3553360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00" b="1" dirty="0">
                <a:latin typeface="Calibri" panose="020F0502020204030204" pitchFamily="34" charset="0"/>
                <a:cs typeface="Calibri" panose="020F0502020204030204" pitchFamily="34" charset="0"/>
              </a:rPr>
              <a:t>100</a:t>
            </a:r>
          </a:p>
          <a:p>
            <a:r>
              <a:rPr lang="cs-CZ" sz="800" dirty="0">
                <a:latin typeface="Calibri" panose="020F0502020204030204" pitchFamily="34" charset="0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5B77FD62-F375-40BF-A635-0F86D4274581}"/>
              </a:ext>
            </a:extLst>
          </p:cNvPr>
          <p:cNvSpPr txBox="1"/>
          <p:nvPr/>
        </p:nvSpPr>
        <p:spPr>
          <a:xfrm>
            <a:off x="11577452" y="4621660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00" b="1" dirty="0">
                <a:latin typeface="Calibri" panose="020F0502020204030204" pitchFamily="34" charset="0"/>
                <a:cs typeface="Calibri" panose="020F0502020204030204" pitchFamily="34" charset="0"/>
              </a:rPr>
              <a:t>50</a:t>
            </a:r>
          </a:p>
          <a:p>
            <a:r>
              <a:rPr lang="cs-CZ" sz="800" dirty="0">
                <a:latin typeface="Calibri" panose="020F0502020204030204" pitchFamily="34" charset="0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31" name="Nadpis 1">
            <a:extLst>
              <a:ext uri="{FF2B5EF4-FFF2-40B4-BE49-F238E27FC236}">
                <a16:creationId xmlns:a16="http://schemas.microsoft.com/office/drawing/2014/main" id="{CFCC2C02-F284-4941-91C6-5CC2566B6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en-US" sz="1800" dirty="0" err="1">
                <a:latin typeface="+mj-lt"/>
              </a:rPr>
              <a:t>Modelov</a:t>
            </a:r>
            <a:r>
              <a:rPr lang="cs-CZ" sz="1800" dirty="0">
                <a:latin typeface="+mj-lt"/>
              </a:rPr>
              <a:t>é scénáře: 7denní hodnoty na 100 tisíc obyvatel: </a:t>
            </a:r>
            <a:r>
              <a:rPr lang="cs-CZ" sz="1800" dirty="0"/>
              <a:t>Plzeňský kraj</a:t>
            </a:r>
            <a:endParaRPr lang="cs-CZ" sz="1800" dirty="0">
              <a:latin typeface="+mj-lt"/>
            </a:endParaRPr>
          </a:p>
        </p:txBody>
      </p: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EE744899-4831-4573-9408-495F16CA9A16}"/>
              </a:ext>
            </a:extLst>
          </p:cNvPr>
          <p:cNvSpPr txBox="1"/>
          <p:nvPr/>
        </p:nvSpPr>
        <p:spPr>
          <a:xfrm>
            <a:off x="228000" y="6456056"/>
            <a:ext cx="1173470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100" dirty="0">
                <a:solidFill>
                  <a:schemeClr val="accent1"/>
                </a:solidFill>
              </a:rPr>
              <a:t>Hodnota celorepublikového modelu byla lokalizovaná do příslušného kraje se zohledněním trendu nárůstu ve dnech 24. 5. až 31. 5.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769A89A7-DAB2-440B-B308-CC59CEAFF99B}"/>
              </a:ext>
            </a:extLst>
          </p:cNvPr>
          <p:cNvGrpSpPr/>
          <p:nvPr/>
        </p:nvGrpSpPr>
        <p:grpSpPr>
          <a:xfrm>
            <a:off x="10808484" y="603203"/>
            <a:ext cx="1351617" cy="270349"/>
            <a:chOff x="12377686" y="5757722"/>
            <a:chExt cx="1982477" cy="396533"/>
          </a:xfrm>
        </p:grpSpPr>
        <p:pic>
          <p:nvPicPr>
            <p:cNvPr id="33" name="Obrázek 32">
              <a:extLst>
                <a:ext uri="{FF2B5EF4-FFF2-40B4-BE49-F238E27FC236}">
                  <a16:creationId xmlns:a16="http://schemas.microsoft.com/office/drawing/2014/main" id="{A8D76F95-54CC-4BF7-9E50-277CA7F9C37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2377686" y="5788188"/>
              <a:ext cx="304979" cy="365828"/>
            </a:xfrm>
            <a:prstGeom prst="rect">
              <a:avLst/>
            </a:prstGeom>
          </p:spPr>
        </p:pic>
        <p:pic>
          <p:nvPicPr>
            <p:cNvPr id="34" name="Obrázek 33">
              <a:extLst>
                <a:ext uri="{FF2B5EF4-FFF2-40B4-BE49-F238E27FC236}">
                  <a16:creationId xmlns:a16="http://schemas.microsoft.com/office/drawing/2014/main" id="{05C61523-313B-457A-BE4A-AF29BAB17E6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845786" y="5757722"/>
              <a:ext cx="1514377" cy="396533"/>
            </a:xfrm>
            <a:prstGeom prst="rect">
              <a:avLst/>
            </a:prstGeom>
          </p:spPr>
        </p:pic>
      </p:grp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B6AD96A6-4373-4DF8-B06A-3A60CFDCA0C5}"/>
              </a:ext>
            </a:extLst>
          </p:cNvPr>
          <p:cNvSpPr txBox="1"/>
          <p:nvPr/>
        </p:nvSpPr>
        <p:spPr>
          <a:xfrm>
            <a:off x="5470252" y="1231063"/>
            <a:ext cx="194504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pl-PL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 uzavřenému dni 27. 6. 2021</a:t>
            </a: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33347470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B1276870-99EE-4D94-8977-D4A2442A6BF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58075237"/>
              </p:ext>
            </p:extLst>
          </p:nvPr>
        </p:nvGraphicFramePr>
        <p:xfrm>
          <a:off x="556549" y="3273786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399F9D63-C378-4018-B97A-C6FF1B38BBF2}"/>
              </a:ext>
            </a:extLst>
          </p:cNvPr>
          <p:cNvSpPr txBox="1"/>
          <p:nvPr/>
        </p:nvSpPr>
        <p:spPr>
          <a:xfrm>
            <a:off x="214075" y="1050497"/>
            <a:ext cx="38671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 dle hodnoty reprodukčního čísla 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69B8FCCD-AB42-495D-8900-E0EDAF4D3695}"/>
              </a:ext>
            </a:extLst>
          </p:cNvPr>
          <p:cNvSpPr txBox="1"/>
          <p:nvPr/>
        </p:nvSpPr>
        <p:spPr>
          <a:xfrm>
            <a:off x="4792918" y="638978"/>
            <a:ext cx="5031486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vý scénář (R = 1,10)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915432FB-02C6-4A48-823E-AAFFD38F04CD}"/>
              </a:ext>
            </a:extLst>
          </p:cNvPr>
          <p:cNvSpPr txBox="1"/>
          <p:nvPr/>
        </p:nvSpPr>
        <p:spPr>
          <a:xfrm>
            <a:off x="4792918" y="1947883"/>
            <a:ext cx="5031486" cy="369332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zpomalení (R = 0,70)</a:t>
            </a:r>
          </a:p>
        </p:txBody>
      </p:sp>
      <p:cxnSp>
        <p:nvCxnSpPr>
          <p:cNvPr id="10" name="Přímá spojnice se šipkou 9">
            <a:extLst>
              <a:ext uri="{FF2B5EF4-FFF2-40B4-BE49-F238E27FC236}">
                <a16:creationId xmlns:a16="http://schemas.microsoft.com/office/drawing/2014/main" id="{2FBBF0DE-751C-4A8D-9688-745F518DEA63}"/>
              </a:ext>
            </a:extLst>
          </p:cNvPr>
          <p:cNvCxnSpPr/>
          <p:nvPr/>
        </p:nvCxnSpPr>
        <p:spPr>
          <a:xfrm flipV="1">
            <a:off x="4154743" y="864532"/>
            <a:ext cx="523875" cy="56949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Přímá spojnice se šipkou 10">
            <a:extLst>
              <a:ext uri="{FF2B5EF4-FFF2-40B4-BE49-F238E27FC236}">
                <a16:creationId xmlns:a16="http://schemas.microsoft.com/office/drawing/2014/main" id="{427BD7B2-178E-45A0-B634-921C0C8A629F}"/>
              </a:ext>
            </a:extLst>
          </p:cNvPr>
          <p:cNvCxnSpPr/>
          <p:nvPr/>
        </p:nvCxnSpPr>
        <p:spPr>
          <a:xfrm>
            <a:off x="4154743" y="1503447"/>
            <a:ext cx="523875" cy="64073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6">
            <a:extLst>
              <a:ext uri="{FF2B5EF4-FFF2-40B4-BE49-F238E27FC236}">
                <a16:creationId xmlns:a16="http://schemas.microsoft.com/office/drawing/2014/main" id="{69CEF138-18A8-4271-9FEF-402DB7C25B86}"/>
              </a:ext>
            </a:extLst>
          </p:cNvPr>
          <p:cNvSpPr txBox="1"/>
          <p:nvPr/>
        </p:nvSpPr>
        <p:spPr>
          <a:xfrm>
            <a:off x="489851" y="2893021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D297EC6B-32AF-493A-B2A7-B285C8CEF178}"/>
              </a:ext>
            </a:extLst>
          </p:cNvPr>
          <p:cNvSpPr txBox="1"/>
          <p:nvPr/>
        </p:nvSpPr>
        <p:spPr>
          <a:xfrm>
            <a:off x="4475378" y="2789253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10</a:t>
            </a: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3C9B186B-8163-428B-A364-E90D3144B57D}"/>
              </a:ext>
            </a:extLst>
          </p:cNvPr>
          <p:cNvSpPr/>
          <p:nvPr/>
        </p:nvSpPr>
        <p:spPr>
          <a:xfrm>
            <a:off x="7952761" y="2841929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35669B2F-D612-4664-B709-53D98132D57A}"/>
              </a:ext>
            </a:extLst>
          </p:cNvPr>
          <p:cNvSpPr txBox="1"/>
          <p:nvPr/>
        </p:nvSpPr>
        <p:spPr>
          <a:xfrm>
            <a:off x="8249942" y="2790122"/>
            <a:ext cx="15734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9" name="Přímá spojnice 18">
            <a:extLst>
              <a:ext uri="{FF2B5EF4-FFF2-40B4-BE49-F238E27FC236}">
                <a16:creationId xmlns:a16="http://schemas.microsoft.com/office/drawing/2014/main" id="{76B85254-1A7D-488E-9830-3F99A7742F43}"/>
              </a:ext>
            </a:extLst>
          </p:cNvPr>
          <p:cNvCxnSpPr>
            <a:cxnSpLocks/>
          </p:cNvCxnSpPr>
          <p:nvPr/>
        </p:nvCxnSpPr>
        <p:spPr>
          <a:xfrm>
            <a:off x="4180633" y="2944288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7DE1342D-EB8B-4B07-AF76-9D71853830EC}"/>
              </a:ext>
            </a:extLst>
          </p:cNvPr>
          <p:cNvSpPr txBox="1"/>
          <p:nvPr/>
        </p:nvSpPr>
        <p:spPr>
          <a:xfrm>
            <a:off x="4475378" y="3014473"/>
            <a:ext cx="313540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0	</a:t>
            </a:r>
          </a:p>
        </p:txBody>
      </p: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E4706C2C-C343-4CD4-BC4A-ED6979CFCE85}"/>
              </a:ext>
            </a:extLst>
          </p:cNvPr>
          <p:cNvCxnSpPr>
            <a:cxnSpLocks/>
          </p:cNvCxnSpPr>
          <p:nvPr/>
        </p:nvCxnSpPr>
        <p:spPr>
          <a:xfrm>
            <a:off x="4180633" y="3167595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24">
            <a:extLst>
              <a:ext uri="{FF2B5EF4-FFF2-40B4-BE49-F238E27FC236}">
                <a16:creationId xmlns:a16="http://schemas.microsoft.com/office/drawing/2014/main" id="{E453CAE8-274D-40EB-837F-1DFE06B3FC2E}"/>
              </a:ext>
            </a:extLst>
          </p:cNvPr>
          <p:cNvCxnSpPr>
            <a:cxnSpLocks/>
          </p:cNvCxnSpPr>
          <p:nvPr/>
        </p:nvCxnSpPr>
        <p:spPr>
          <a:xfrm>
            <a:off x="4180633" y="3387705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66CCB7E5-B893-4905-A783-B3A264BEFB90}"/>
              </a:ext>
            </a:extLst>
          </p:cNvPr>
          <p:cNvSpPr txBox="1"/>
          <p:nvPr/>
        </p:nvSpPr>
        <p:spPr>
          <a:xfrm>
            <a:off x="10091064" y="4065325"/>
            <a:ext cx="1544387" cy="83099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8. </a:t>
            </a:r>
            <a:r>
              <a:rPr lang="cs-CZ" sz="1200" b="1" dirty="0">
                <a:solidFill>
                  <a:prstClr val="black"/>
                </a:solidFill>
                <a:latin typeface="Calibri" panose="020F0502020204030204"/>
              </a:rPr>
              <a:t>7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2021</a:t>
            </a: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5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1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0 predikovaných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266137AA-9182-40A3-A142-5179882050AD}"/>
              </a:ext>
            </a:extLst>
          </p:cNvPr>
          <p:cNvSpPr txBox="1"/>
          <p:nvPr/>
        </p:nvSpPr>
        <p:spPr>
          <a:xfrm>
            <a:off x="4467521" y="3238409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7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</a:t>
            </a: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6. 2021, R aplikováno od 24. 5. 2021)</a:t>
            </a: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E32A18E1-478B-49B3-B19F-744DF92D3F6C}"/>
              </a:ext>
            </a:extLst>
          </p:cNvPr>
          <p:cNvSpPr txBox="1"/>
          <p:nvPr/>
        </p:nvSpPr>
        <p:spPr>
          <a:xfrm>
            <a:off x="7780712" y="4294618"/>
            <a:ext cx="1544387" cy="83099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b="1" dirty="0">
                <a:solidFill>
                  <a:prstClr val="black"/>
                </a:solidFill>
                <a:latin typeface="Calibri" panose="020F0502020204030204"/>
              </a:rPr>
              <a:t>30. 6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2021</a:t>
            </a: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4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1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0 predikovaných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22" name="Nadpis 1">
            <a:extLst>
              <a:ext uri="{FF2B5EF4-FFF2-40B4-BE49-F238E27FC236}">
                <a16:creationId xmlns:a16="http://schemas.microsoft.com/office/drawing/2014/main" id="{6518D429-51CE-40C1-89F9-ADE1A20304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ce ve třech scénářích: Karlovarský kraj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FFBFC422-E236-4B21-AB38-11C2E04C46CE}"/>
              </a:ext>
            </a:extLst>
          </p:cNvPr>
          <p:cNvGrpSpPr/>
          <p:nvPr/>
        </p:nvGrpSpPr>
        <p:grpSpPr>
          <a:xfrm>
            <a:off x="10932032" y="591658"/>
            <a:ext cx="1158835" cy="360249"/>
            <a:chOff x="12375318" y="2247704"/>
            <a:chExt cx="1580446" cy="491316"/>
          </a:xfrm>
        </p:grpSpPr>
        <p:pic>
          <p:nvPicPr>
            <p:cNvPr id="30" name="Obrázek 29">
              <a:extLst>
                <a:ext uri="{FF2B5EF4-FFF2-40B4-BE49-F238E27FC236}">
                  <a16:creationId xmlns:a16="http://schemas.microsoft.com/office/drawing/2014/main" id="{D0D3736C-EAE3-484F-AA0F-92A696BFF6A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2375318" y="2284346"/>
              <a:ext cx="377379" cy="454674"/>
            </a:xfrm>
            <a:prstGeom prst="rect">
              <a:avLst/>
            </a:prstGeom>
          </p:spPr>
        </p:pic>
        <p:pic>
          <p:nvPicPr>
            <p:cNvPr id="31" name="Obrázek 30">
              <a:extLst>
                <a:ext uri="{FF2B5EF4-FFF2-40B4-BE49-F238E27FC236}">
                  <a16:creationId xmlns:a16="http://schemas.microsoft.com/office/drawing/2014/main" id="{14B45D1E-2D06-41E6-A578-E0B71576AFE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2882808" y="2247704"/>
              <a:ext cx="1072956" cy="490274"/>
            </a:xfrm>
            <a:prstGeom prst="rect">
              <a:avLst/>
            </a:prstGeom>
          </p:spPr>
        </p:pic>
      </p:grp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0E57CB45-CD5F-4E44-8B57-BCD9CCAB14AA}"/>
              </a:ext>
            </a:extLst>
          </p:cNvPr>
          <p:cNvSpPr txBox="1"/>
          <p:nvPr/>
        </p:nvSpPr>
        <p:spPr>
          <a:xfrm>
            <a:off x="8249942" y="3001602"/>
            <a:ext cx="194504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pl-PL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 uzavřenému dni 27. 6. 2021</a:t>
            </a: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49590279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308FBC4-9856-48C7-8DF3-A027D07EF2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819" y="0"/>
            <a:ext cx="5763181" cy="1059255"/>
          </a:xfrm>
        </p:spPr>
        <p:txBody>
          <a:bodyPr/>
          <a:lstStyle/>
          <a:p>
            <a:r>
              <a:rPr lang="cs-CZ" dirty="0"/>
              <a:t>Navržené scénáře pro </a:t>
            </a:r>
            <a:br>
              <a:rPr lang="cs-CZ" dirty="0"/>
            </a:br>
            <a:r>
              <a:rPr lang="cs-CZ" dirty="0"/>
              <a:t>vývoj epidemie v červnu/červenci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BE5D9B15-9A2B-4DD9-96F4-1AF57AAB983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2819" y="1457767"/>
            <a:ext cx="10847093" cy="4428821"/>
          </a:xfrm>
        </p:spPr>
        <p:txBody>
          <a:bodyPr>
            <a:noAutofit/>
          </a:bodyPr>
          <a:lstStyle/>
          <a:p>
            <a:r>
              <a:rPr lang="cs-CZ" sz="1800" b="1" dirty="0"/>
              <a:t>V návaznosti na novou kalibraci modelu 1. 6. byly připraveny nové scénáře</a:t>
            </a:r>
            <a:r>
              <a:rPr lang="en-US" sz="1800" b="1" dirty="0"/>
              <a:t>*</a:t>
            </a:r>
            <a:endParaRPr lang="cs-CZ" sz="1800" b="1" dirty="0"/>
          </a:p>
          <a:p>
            <a:r>
              <a:rPr lang="cs-CZ" sz="1800" b="1" dirty="0">
                <a:solidFill>
                  <a:srgbClr val="00B050"/>
                </a:solidFill>
              </a:rPr>
              <a:t>Scénář </a:t>
            </a:r>
            <a:r>
              <a:rPr lang="en-US" sz="1800" b="1" dirty="0">
                <a:solidFill>
                  <a:srgbClr val="00B050"/>
                </a:solidFill>
              </a:rPr>
              <a:t>A</a:t>
            </a:r>
            <a:r>
              <a:rPr lang="cs-CZ" sz="1800" b="1" dirty="0">
                <a:solidFill>
                  <a:srgbClr val="00B050"/>
                </a:solidFill>
              </a:rPr>
              <a:t> (scénář vyhasínání epidemie; předpokládané R = </a:t>
            </a:r>
            <a:r>
              <a:rPr lang="en-US" sz="1800" b="1" dirty="0">
                <a:solidFill>
                  <a:srgbClr val="00B050"/>
                </a:solidFill>
              </a:rPr>
              <a:t>0,</a:t>
            </a:r>
            <a:r>
              <a:rPr lang="cs-CZ" sz="1800" b="1" dirty="0">
                <a:solidFill>
                  <a:srgbClr val="00B050"/>
                </a:solidFill>
              </a:rPr>
              <a:t>70)</a:t>
            </a:r>
          </a:p>
          <a:p>
            <a:pPr lvl="1"/>
            <a:r>
              <a:rPr lang="cs-CZ" sz="1600" dirty="0"/>
              <a:t>výrazný dopad opatření a očkování, zlepšení díky vlivu sezónnosti, rozvoji dalších mechanismů (např. testování a trasování) apod., odpovídá aktuálním hodnotám reprodukčního čísla</a:t>
            </a:r>
          </a:p>
          <a:p>
            <a:r>
              <a:rPr lang="cs-CZ" sz="1800" b="1" dirty="0">
                <a:solidFill>
                  <a:srgbClr val="FFC618"/>
                </a:solidFill>
              </a:rPr>
              <a:t>Scénář B (scénář stagnace epidemie, předpokládané R = 0,90)</a:t>
            </a:r>
          </a:p>
          <a:p>
            <a:pPr lvl="1"/>
            <a:r>
              <a:rPr lang="cs-CZ" sz="1600" dirty="0"/>
              <a:t>zpomalení poklesu vlivem mírného dopadu rozvolnění</a:t>
            </a:r>
          </a:p>
          <a:p>
            <a:r>
              <a:rPr lang="cs-CZ" sz="1800" b="1" dirty="0">
                <a:solidFill>
                  <a:srgbClr val="FF0000"/>
                </a:solidFill>
              </a:rPr>
              <a:t>Scénář C (potenciálně rizikový scénář, předpokládané R = 1,10)</a:t>
            </a:r>
          </a:p>
          <a:p>
            <a:pPr lvl="1"/>
            <a:r>
              <a:rPr lang="cs-CZ" sz="1600" dirty="0"/>
              <a:t>opětovné dílčí zhoršení situace v důsledku rozvolnění, snížení akceptace opatření populací, vlivu emergentních (mutovaných) variant SARS-CoV-2 apod.</a:t>
            </a: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267E8C24-967E-41C5-A2B5-229406E471EE}"/>
              </a:ext>
            </a:extLst>
          </p:cNvPr>
          <p:cNvSpPr txBox="1"/>
          <p:nvPr/>
        </p:nvSpPr>
        <p:spPr>
          <a:xfrm>
            <a:off x="254549" y="5961934"/>
            <a:ext cx="1179091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cs-CZ" sz="1200" dirty="0"/>
              <a:t>* </a:t>
            </a:r>
            <a:r>
              <a:rPr lang="cs-CZ" sz="1200" dirty="0" err="1"/>
              <a:t>odpovíd</a:t>
            </a:r>
            <a:r>
              <a:rPr lang="en-US" sz="1200" dirty="0" err="1"/>
              <a:t>aj</a:t>
            </a:r>
            <a:r>
              <a:rPr lang="cs-CZ" sz="1200" dirty="0"/>
              <a:t>í kalibraci reprodukčního čísla epidemiologickým modelem pro krátkodobé predikce ÚZIS ČR v segmentu od 1</a:t>
            </a:r>
            <a:r>
              <a:rPr lang="en-US" sz="1200" dirty="0"/>
              <a:t>.</a:t>
            </a:r>
            <a:r>
              <a:rPr lang="cs-CZ" sz="1200" dirty="0"/>
              <a:t> 5. do 31. 5. 202</a:t>
            </a:r>
            <a:r>
              <a:rPr lang="en-US" sz="1200" dirty="0"/>
              <a:t>1</a:t>
            </a:r>
            <a:r>
              <a:rPr lang="cs-CZ" sz="1200" dirty="0"/>
              <a:t>, odhad 0,67 (0,47</a:t>
            </a:r>
            <a:r>
              <a:rPr lang="cs-CZ" sz="1200" dirty="0">
                <a:solidFill>
                  <a:srgbClr val="000000"/>
                </a:solidFill>
              </a:rPr>
              <a:t>–0</a:t>
            </a:r>
            <a:r>
              <a:rPr lang="cs-CZ" sz="1200" dirty="0"/>
              <a:t>,87), interval odpovídá 95% intervalu neurčitosti z odhadů získaných kalibrací modelu, kalibračním cílem byly denní přírůstky s vyjmutím volných dnů</a:t>
            </a:r>
            <a:r>
              <a:rPr lang="en-US" sz="1200" dirty="0"/>
              <a:t> a </a:t>
            </a:r>
            <a:r>
              <a:rPr lang="en-US" sz="1200" dirty="0" err="1"/>
              <a:t>exponenci</a:t>
            </a:r>
            <a:r>
              <a:rPr lang="cs-CZ" sz="1200" dirty="0" err="1"/>
              <a:t>ální</a:t>
            </a:r>
            <a:r>
              <a:rPr lang="cs-CZ" sz="1200" dirty="0"/>
              <a:t> váhou.</a:t>
            </a:r>
          </a:p>
          <a:p>
            <a:r>
              <a:rPr lang="cs-CZ" sz="1200" dirty="0"/>
              <a:t>Scénáře pro různou dynamiku šíření epidemie v následujícím období jsou aplikovány od 24. 5. 2021.</a:t>
            </a:r>
          </a:p>
        </p:txBody>
      </p:sp>
    </p:spTree>
    <p:extLst>
      <p:ext uri="{BB962C8B-B14F-4D97-AF65-F5344CB8AC3E}">
        <p14:creationId xmlns:p14="http://schemas.microsoft.com/office/powerpoint/2010/main" val="175743471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ulka 9">
            <a:extLst>
              <a:ext uri="{FF2B5EF4-FFF2-40B4-BE49-F238E27FC236}">
                <a16:creationId xmlns:a16="http://schemas.microsoft.com/office/drawing/2014/main" id="{2CDF3C9D-B366-482C-9DEE-848BF9D72A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59518251"/>
              </p:ext>
            </p:extLst>
          </p:nvPr>
        </p:nvGraphicFramePr>
        <p:xfrm>
          <a:off x="45720" y="1318054"/>
          <a:ext cx="12108951" cy="5019468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18422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3468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93810515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272550134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889585356"/>
                    </a:ext>
                  </a:extLst>
                </a:gridCol>
                <a:gridCol w="1116000">
                  <a:extLst>
                    <a:ext uri="{9D8B030D-6E8A-4147-A177-3AD203B41FA5}">
                      <a16:colId xmlns:a16="http://schemas.microsoft.com/office/drawing/2014/main" val="3083214646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487868241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891010204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340384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264344487"/>
                    </a:ext>
                  </a:extLst>
                </a:gridCol>
                <a:gridCol w="1008000">
                  <a:extLst>
                    <a:ext uri="{9D8B030D-6E8A-4147-A177-3AD203B41FA5}">
                      <a16:colId xmlns:a16="http://schemas.microsoft.com/office/drawing/2014/main" val="13148050"/>
                    </a:ext>
                  </a:extLst>
                </a:gridCol>
                <a:gridCol w="1008000">
                  <a:extLst>
                    <a:ext uri="{9D8B030D-6E8A-4147-A177-3AD203B41FA5}">
                      <a16:colId xmlns:a16="http://schemas.microsoft.com/office/drawing/2014/main" val="1091220691"/>
                    </a:ext>
                  </a:extLst>
                </a:gridCol>
              </a:tblGrid>
              <a:tr h="822960">
                <a:tc>
                  <a:txBody>
                    <a:bodyPr/>
                    <a:lstStyle/>
                    <a:p>
                      <a:pPr algn="l"/>
                      <a:endParaRPr lang="cs-CZ" sz="16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cs-CZ" sz="1600" u="sng" dirty="0"/>
                        <a:t>Predikovaný celkový počet</a:t>
                      </a:r>
                      <a:r>
                        <a:rPr lang="cs-CZ" sz="1600" u="none" dirty="0"/>
                        <a:t> </a:t>
                      </a:r>
                      <a:br>
                        <a:rPr lang="cs-CZ" sz="1600" u="none" dirty="0"/>
                      </a:br>
                      <a:r>
                        <a:rPr lang="cs-CZ" sz="1600" u="none" dirty="0"/>
                        <a:t>N</a:t>
                      </a:r>
                      <a:r>
                        <a:rPr lang="cs-CZ" sz="1600" dirty="0"/>
                        <a:t>ově prokázané nákazy COVID-19</a:t>
                      </a:r>
                      <a:endParaRPr lang="cs-CZ" sz="1600" b="1" dirty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alita: naměřené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odnot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u="sng" dirty="0"/>
                        <a:t>Predikovaný průměrný denní počet</a:t>
                      </a:r>
                      <a:r>
                        <a:rPr lang="cs-CZ" sz="1600" dirty="0"/>
                        <a:t> Nově prokázané nákazy COVID-19</a:t>
                      </a:r>
                      <a:endParaRPr lang="cs-CZ" sz="16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600" b="1" dirty="0"/>
                        <a:t>Realita: naměřené</a:t>
                      </a:r>
                    </a:p>
                    <a:p>
                      <a:pPr algn="ctr"/>
                      <a:r>
                        <a:rPr lang="cs-CZ" sz="1600" b="1" dirty="0"/>
                        <a:t>hodnoty</a:t>
                      </a:r>
                      <a:endParaRPr lang="en-US" sz="16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16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87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odnota R</a:t>
                      </a:r>
                      <a:br>
                        <a:rPr lang="cs-CZ" sz="16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od 24</a:t>
                      </a:r>
                      <a:r>
                        <a:rPr lang="en-US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r>
                        <a:rPr lang="cs-CZ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5.)</a:t>
                      </a:r>
                      <a:endParaRPr lang="cs-CZ" sz="16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7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8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9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,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</a:t>
                      </a:r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FF"/>
                        </a:highlight>
                        <a:latin typeface="+mj-lt"/>
                      </a:endParaRP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7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8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9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,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</a:t>
                      </a:r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FF"/>
                        </a:highlight>
                        <a:latin typeface="+mj-lt"/>
                      </a:endParaRP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highlight>
                            <a:srgbClr val="FFFFFF"/>
                          </a:highlight>
                        </a:rPr>
                        <a:t>denní průměr včetně víkendů</a:t>
                      </a:r>
                      <a:endParaRPr lang="en-US" sz="1200" dirty="0">
                        <a:highlight>
                          <a:srgbClr val="FFFFFF"/>
                        </a:highlight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highlight>
                            <a:srgbClr val="FFFFFF"/>
                          </a:highlight>
                        </a:rPr>
                        <a:t>denní průměr v pracovních dnech</a:t>
                      </a:r>
                      <a:endParaRPr lang="cs-CZ" sz="1200" dirty="0">
                        <a:highlight>
                          <a:srgbClr val="FFFFFF"/>
                        </a:highlight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8491739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indent="0" algn="l" fontAlgn="b"/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  <a:r>
                        <a:rPr lang="cs-CZ" sz="1450" b="1" u="none" strike="noStrike" dirty="0">
                          <a:effectLst/>
                        </a:rPr>
                        <a:t>.–13. 6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10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10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6621032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50" u="none" strike="noStrike" dirty="0">
                          <a:effectLst/>
                        </a:rPr>
                        <a:t>Období </a:t>
                      </a:r>
                      <a:r>
                        <a:rPr lang="cs-CZ" sz="1450" b="1" u="none" strike="noStrike" dirty="0">
                          <a:effectLst/>
                        </a:rPr>
                        <a:t>14.–20. 6.</a:t>
                      </a:r>
                      <a:endParaRPr lang="cs-CZ" sz="14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1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1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62736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1</a:t>
                      </a:r>
                      <a:r>
                        <a:rPr lang="cs-CZ" sz="1450" b="1" u="none" strike="noStrike" dirty="0">
                          <a:effectLst/>
                        </a:rPr>
                        <a:t>.–27. 6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1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1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1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3466947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indent="0" algn="l" fontAlgn="b"/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8. 6.</a:t>
                      </a:r>
                      <a:r>
                        <a:rPr lang="cs-CZ" sz="1450" b="1" u="none" strike="noStrike" dirty="0">
                          <a:effectLst/>
                        </a:rPr>
                        <a:t>–4. 7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1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1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1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7246171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.</a:t>
                      </a:r>
                      <a:r>
                        <a:rPr lang="cs-CZ" sz="1450" b="1" u="none" strike="noStrike" dirty="0">
                          <a:effectLst/>
                        </a:rPr>
                        <a:t>–11. 7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1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1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1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9339872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.</a:t>
                      </a:r>
                      <a:r>
                        <a:rPr lang="cs-CZ" sz="1450" b="1" u="none" strike="noStrike" dirty="0">
                          <a:effectLst/>
                        </a:rPr>
                        <a:t>–18. 7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10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10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10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651041"/>
                  </a:ext>
                </a:extLst>
              </a:tr>
            </a:tbl>
          </a:graphicData>
        </a:graphic>
      </p:graphicFrame>
      <p:sp>
        <p:nvSpPr>
          <p:cNvPr id="9" name="TextovéPole 8">
            <a:extLst>
              <a:ext uri="{FF2B5EF4-FFF2-40B4-BE49-F238E27FC236}">
                <a16:creationId xmlns:a16="http://schemas.microsoft.com/office/drawing/2014/main" id="{E4A0DC13-0AB7-42C0-B44A-C8095E8723E9}"/>
              </a:ext>
            </a:extLst>
          </p:cNvPr>
          <p:cNvSpPr txBox="1"/>
          <p:nvPr/>
        </p:nvSpPr>
        <p:spPr>
          <a:xfrm>
            <a:off x="45720" y="6388483"/>
            <a:ext cx="12090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200" dirty="0">
                <a:solidFill>
                  <a:schemeClr val="accent1"/>
                </a:solidFill>
              </a:rPr>
              <a:t>Predikované počty odpovídají modelovaným hodnotám (kalibrovaným na hodnoty pozorované v pracovních dnech), naměřené hodnoty zahrnují všechny počty hlášené do databáze, včetně potenciálně nižších záchytů nemoci v nepracovních dnech. V případě denního průměrného počtu jsou uvedeny i hodnoty, které zahrnují pouze pracovní dny.</a:t>
            </a:r>
          </a:p>
        </p:txBody>
      </p:sp>
      <p:sp>
        <p:nvSpPr>
          <p:cNvPr id="8" name="Nadpis 1">
            <a:extLst>
              <a:ext uri="{FF2B5EF4-FFF2-40B4-BE49-F238E27FC236}">
                <a16:creationId xmlns:a16="http://schemas.microsoft.com/office/drawing/2014/main" id="{DBBDF33E-D7ED-4B93-A481-745FE41008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558611" cy="576000"/>
          </a:xfrm>
        </p:spPr>
        <p:txBody>
          <a:bodyPr/>
          <a:lstStyle/>
          <a:p>
            <a:r>
              <a:rPr lang="cs-CZ" dirty="0" err="1"/>
              <a:t>Rekalibrace</a:t>
            </a:r>
            <a:r>
              <a:rPr lang="cs-CZ" dirty="0"/>
              <a:t> prediktivního modelu pro </a:t>
            </a:r>
            <a:r>
              <a:rPr lang="cs-CZ" u="sng" dirty="0"/>
              <a:t>nové scénáře</a:t>
            </a:r>
            <a:r>
              <a:rPr lang="cs-CZ" dirty="0"/>
              <a:t>: Karlovarský kraj</a:t>
            </a:r>
          </a:p>
        </p:txBody>
      </p:sp>
      <p:grpSp>
        <p:nvGrpSpPr>
          <p:cNvPr id="6" name="Skupina 5">
            <a:extLst>
              <a:ext uri="{FF2B5EF4-FFF2-40B4-BE49-F238E27FC236}">
                <a16:creationId xmlns:a16="http://schemas.microsoft.com/office/drawing/2014/main" id="{918B1D4E-BAE6-4BCD-AD72-2FFB926C0B25}"/>
              </a:ext>
            </a:extLst>
          </p:cNvPr>
          <p:cNvGrpSpPr/>
          <p:nvPr/>
        </p:nvGrpSpPr>
        <p:grpSpPr>
          <a:xfrm>
            <a:off x="10932032" y="887882"/>
            <a:ext cx="1158835" cy="360249"/>
            <a:chOff x="12375318" y="2247704"/>
            <a:chExt cx="1580446" cy="491316"/>
          </a:xfrm>
        </p:grpSpPr>
        <p:pic>
          <p:nvPicPr>
            <p:cNvPr id="7" name="Obrázek 6">
              <a:extLst>
                <a:ext uri="{FF2B5EF4-FFF2-40B4-BE49-F238E27FC236}">
                  <a16:creationId xmlns:a16="http://schemas.microsoft.com/office/drawing/2014/main" id="{FD04F368-E347-4DB1-B497-1FF10E704AA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375318" y="2284346"/>
              <a:ext cx="377379" cy="454674"/>
            </a:xfrm>
            <a:prstGeom prst="rect">
              <a:avLst/>
            </a:prstGeom>
          </p:spPr>
        </p:pic>
        <p:pic>
          <p:nvPicPr>
            <p:cNvPr id="11" name="Obrázek 10">
              <a:extLst>
                <a:ext uri="{FF2B5EF4-FFF2-40B4-BE49-F238E27FC236}">
                  <a16:creationId xmlns:a16="http://schemas.microsoft.com/office/drawing/2014/main" id="{3B60DDE8-3DC7-4531-8100-EE244F2CFC6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2882808" y="2247704"/>
              <a:ext cx="1072956" cy="490274"/>
            </a:xfrm>
            <a:prstGeom prst="rect">
              <a:avLst/>
            </a:prstGeom>
          </p:spPr>
        </p:pic>
      </p:grp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6CE68409-7655-4356-9AE8-4D638ABE4EF9}"/>
              </a:ext>
            </a:extLst>
          </p:cNvPr>
          <p:cNvSpPr txBox="1"/>
          <p:nvPr/>
        </p:nvSpPr>
        <p:spPr>
          <a:xfrm>
            <a:off x="0" y="576002"/>
            <a:ext cx="1231394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600" b="1" dirty="0">
                <a:solidFill>
                  <a:srgbClr val="000000"/>
                </a:solidFill>
              </a:rPr>
              <a:t>Epidemické křivky vytvořeny pomocí modelu pro krátkodobé predikce ÚZIS ČR, </a:t>
            </a:r>
            <a:r>
              <a:rPr lang="pl-PL" sz="1600" b="1" u="sng" dirty="0">
                <a:solidFill>
                  <a:srgbClr val="000000"/>
                </a:solidFill>
              </a:rPr>
              <a:t>predikce odpovídá údajům z 1. 6. 2021.</a:t>
            </a:r>
            <a:endParaRPr lang="cs-CZ" sz="1600" b="1" u="sng" dirty="0">
              <a:solidFill>
                <a:srgbClr val="000000"/>
              </a:solidFill>
            </a:endParaRPr>
          </a:p>
          <a:p>
            <a:pPr lvl="0">
              <a:defRPr/>
            </a:pPr>
            <a:r>
              <a:rPr lang="cs-CZ" sz="1200" b="1" dirty="0">
                <a:solidFill>
                  <a:srgbClr val="000000"/>
                </a:solidFill>
              </a:rPr>
              <a:t>Hodnota celorepublikového modelu byla lokalizovaná do příslušného kraje se zohledněním trendu nárůstu ve </a:t>
            </a:r>
            <a:r>
              <a:rPr lang="pl-PL" sz="1200" b="1" dirty="0">
                <a:solidFill>
                  <a:srgbClr val="000000"/>
                </a:solidFill>
              </a:rPr>
              <a:t>dnech 24. 5. až 31. 5.</a:t>
            </a:r>
          </a:p>
          <a:p>
            <a:pPr lvl="0">
              <a:defRPr/>
            </a:pPr>
            <a:r>
              <a:rPr lang="cs-CZ" sz="1200" b="1" dirty="0">
                <a:solidFill>
                  <a:srgbClr val="000000"/>
                </a:solidFill>
              </a:rPr>
              <a:t>Naměřené hodnoty jsou aktuální </a:t>
            </a:r>
            <a:r>
              <a:rPr lang="pl-PL" sz="1200" b="1" dirty="0">
                <a:solidFill>
                  <a:srgbClr val="000000"/>
                </a:solidFill>
              </a:rPr>
              <a:t>k uzavřenému dni 27. 6. 2021</a:t>
            </a:r>
            <a:r>
              <a:rPr lang="cs-CZ" sz="1200" b="1" dirty="0">
                <a:solidFill>
                  <a:srgbClr val="000000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08225968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B1276870-99EE-4D94-8977-D4A2442A6BF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78606693"/>
              </p:ext>
            </p:extLst>
          </p:nvPr>
        </p:nvGraphicFramePr>
        <p:xfrm>
          <a:off x="556549" y="867747"/>
          <a:ext cx="11354940" cy="5955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5" name="TextovéPole 14">
            <a:extLst>
              <a:ext uri="{FF2B5EF4-FFF2-40B4-BE49-F238E27FC236}">
                <a16:creationId xmlns:a16="http://schemas.microsoft.com/office/drawing/2014/main" id="{D297EC6B-32AF-493A-B2A7-B285C8CEF178}"/>
              </a:ext>
            </a:extLst>
          </p:cNvPr>
          <p:cNvSpPr txBox="1"/>
          <p:nvPr/>
        </p:nvSpPr>
        <p:spPr>
          <a:xfrm>
            <a:off x="1931960" y="976711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10</a:t>
            </a: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3C9B186B-8163-428B-A364-E90D3144B57D}"/>
              </a:ext>
            </a:extLst>
          </p:cNvPr>
          <p:cNvSpPr/>
          <p:nvPr/>
        </p:nvSpPr>
        <p:spPr>
          <a:xfrm>
            <a:off x="5175471" y="1053160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35669B2F-D612-4664-B709-53D98132D57A}"/>
              </a:ext>
            </a:extLst>
          </p:cNvPr>
          <p:cNvSpPr txBox="1"/>
          <p:nvPr/>
        </p:nvSpPr>
        <p:spPr>
          <a:xfrm>
            <a:off x="5472652" y="1001353"/>
            <a:ext cx="15734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9" name="Přímá spojnice 18">
            <a:extLst>
              <a:ext uri="{FF2B5EF4-FFF2-40B4-BE49-F238E27FC236}">
                <a16:creationId xmlns:a16="http://schemas.microsoft.com/office/drawing/2014/main" id="{76B85254-1A7D-488E-9830-3F99A7742F43}"/>
              </a:ext>
            </a:extLst>
          </p:cNvPr>
          <p:cNvCxnSpPr>
            <a:cxnSpLocks/>
          </p:cNvCxnSpPr>
          <p:nvPr/>
        </p:nvCxnSpPr>
        <p:spPr>
          <a:xfrm>
            <a:off x="1637215" y="1131746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7DE1342D-EB8B-4B07-AF76-9D71853830EC}"/>
              </a:ext>
            </a:extLst>
          </p:cNvPr>
          <p:cNvSpPr txBox="1"/>
          <p:nvPr/>
        </p:nvSpPr>
        <p:spPr>
          <a:xfrm>
            <a:off x="1931960" y="1201931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0</a:t>
            </a:r>
          </a:p>
        </p:txBody>
      </p: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E4706C2C-C343-4CD4-BC4A-ED6979CFCE85}"/>
              </a:ext>
            </a:extLst>
          </p:cNvPr>
          <p:cNvCxnSpPr>
            <a:cxnSpLocks/>
          </p:cNvCxnSpPr>
          <p:nvPr/>
        </p:nvCxnSpPr>
        <p:spPr>
          <a:xfrm>
            <a:off x="1637215" y="1355053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24">
            <a:extLst>
              <a:ext uri="{FF2B5EF4-FFF2-40B4-BE49-F238E27FC236}">
                <a16:creationId xmlns:a16="http://schemas.microsoft.com/office/drawing/2014/main" id="{E453CAE8-274D-40EB-837F-1DFE06B3FC2E}"/>
              </a:ext>
            </a:extLst>
          </p:cNvPr>
          <p:cNvCxnSpPr>
            <a:cxnSpLocks/>
          </p:cNvCxnSpPr>
          <p:nvPr/>
        </p:nvCxnSpPr>
        <p:spPr>
          <a:xfrm>
            <a:off x="1637215" y="1583552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66CCB7E5-B893-4905-A783-B3A264BEFB90}"/>
              </a:ext>
            </a:extLst>
          </p:cNvPr>
          <p:cNvSpPr txBox="1"/>
          <p:nvPr/>
        </p:nvSpPr>
        <p:spPr>
          <a:xfrm>
            <a:off x="9546722" y="1112383"/>
            <a:ext cx="1945049" cy="100027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b="1" dirty="0">
                <a:solidFill>
                  <a:prstClr val="black"/>
                </a:solidFill>
                <a:latin typeface="Calibri" panose="020F0502020204030204"/>
              </a:rPr>
              <a:t>18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7. 2021</a:t>
            </a:r>
          </a:p>
          <a:p>
            <a:pPr lvl="0" algn="r"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7denní </a:t>
            </a:r>
            <a:r>
              <a:rPr lang="cs-CZ" sz="1100" dirty="0" err="1">
                <a:solidFill>
                  <a:prstClr val="black"/>
                </a:solidFill>
                <a:latin typeface="Calibri" panose="020F0502020204030204"/>
              </a:rPr>
              <a:t>kum</a:t>
            </a: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. počet na 100 tis.)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12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2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0 na 100 tisíc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266137AA-9182-40A3-A142-5179882050AD}"/>
              </a:ext>
            </a:extLst>
          </p:cNvPr>
          <p:cNvSpPr txBox="1"/>
          <p:nvPr/>
        </p:nvSpPr>
        <p:spPr>
          <a:xfrm>
            <a:off x="1924103" y="1434256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70</a:t>
            </a:r>
          </a:p>
          <a:p>
            <a:pPr lvl="0"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scénáře ze dne 1. 6. 2021, R aplikováno od 24. 5. 2021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E32A18E1-478B-49B3-B19F-744DF92D3F6C}"/>
              </a:ext>
            </a:extLst>
          </p:cNvPr>
          <p:cNvSpPr txBox="1"/>
          <p:nvPr/>
        </p:nvSpPr>
        <p:spPr>
          <a:xfrm>
            <a:off x="7541573" y="1112383"/>
            <a:ext cx="1945048" cy="100027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b="1" dirty="0">
                <a:solidFill>
                  <a:prstClr val="black"/>
                </a:solidFill>
                <a:latin typeface="Calibri" panose="020F0502020204030204"/>
              </a:rPr>
              <a:t>30. 6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2021 </a:t>
            </a:r>
            <a:b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7denní </a:t>
            </a:r>
            <a:r>
              <a:rPr lang="cs-CZ" sz="1100" dirty="0" err="1">
                <a:solidFill>
                  <a:prstClr val="black"/>
                </a:solidFill>
                <a:latin typeface="Calibri" panose="020F0502020204030204"/>
              </a:rPr>
              <a:t>kum</a:t>
            </a: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. počet na 100 tis.)</a:t>
            </a:r>
            <a:endParaRPr kumimoji="0" lang="cs-CZ" sz="12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9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2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1 na 100 tisíc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30" name="TextBox 6">
            <a:extLst>
              <a:ext uri="{FF2B5EF4-FFF2-40B4-BE49-F238E27FC236}">
                <a16:creationId xmlns:a16="http://schemas.microsoft.com/office/drawing/2014/main" id="{8B058FAD-246D-4FB5-9A38-9461A45D5931}"/>
              </a:ext>
            </a:extLst>
          </p:cNvPr>
          <p:cNvSpPr txBox="1"/>
          <p:nvPr/>
        </p:nvSpPr>
        <p:spPr>
          <a:xfrm rot="16200000">
            <a:off x="-1483263" y="3360473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2AE1522-C017-42C8-A5BD-E7F3E887F3AA}"/>
              </a:ext>
            </a:extLst>
          </p:cNvPr>
          <p:cNvSpPr txBox="1"/>
          <p:nvPr/>
        </p:nvSpPr>
        <p:spPr>
          <a:xfrm>
            <a:off x="7940103" y="739648"/>
            <a:ext cx="29732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i="1" dirty="0"/>
              <a:t>Predikované hodnoty </a:t>
            </a:r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C2CDA8BD-006D-42A8-BA88-064DA323F845}"/>
              </a:ext>
            </a:extLst>
          </p:cNvPr>
          <p:cNvSpPr txBox="1"/>
          <p:nvPr/>
        </p:nvSpPr>
        <p:spPr>
          <a:xfrm>
            <a:off x="11629279" y="2109789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00" b="1" dirty="0">
                <a:latin typeface="Calibri" panose="020F0502020204030204" pitchFamily="34" charset="0"/>
                <a:cs typeface="Calibri" panose="020F0502020204030204" pitchFamily="34" charset="0"/>
              </a:rPr>
              <a:t>100</a:t>
            </a:r>
          </a:p>
          <a:p>
            <a:r>
              <a:rPr lang="cs-CZ" sz="800" dirty="0">
                <a:latin typeface="Calibri" panose="020F0502020204030204" pitchFamily="34" charset="0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5B77FD62-F375-40BF-A635-0F86D4274581}"/>
              </a:ext>
            </a:extLst>
          </p:cNvPr>
          <p:cNvSpPr txBox="1"/>
          <p:nvPr/>
        </p:nvSpPr>
        <p:spPr>
          <a:xfrm>
            <a:off x="11558187" y="3922692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00" b="1" dirty="0">
                <a:latin typeface="Calibri" panose="020F0502020204030204" pitchFamily="34" charset="0"/>
                <a:cs typeface="Calibri" panose="020F0502020204030204" pitchFamily="34" charset="0"/>
              </a:rPr>
              <a:t>50</a:t>
            </a:r>
          </a:p>
          <a:p>
            <a:r>
              <a:rPr lang="cs-CZ" sz="800" dirty="0">
                <a:latin typeface="Calibri" panose="020F0502020204030204" pitchFamily="34" charset="0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31" name="Nadpis 1">
            <a:extLst>
              <a:ext uri="{FF2B5EF4-FFF2-40B4-BE49-F238E27FC236}">
                <a16:creationId xmlns:a16="http://schemas.microsoft.com/office/drawing/2014/main" id="{CFCC2C02-F284-4941-91C6-5CC2566B6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en-US" sz="1800" dirty="0" err="1">
                <a:latin typeface="+mj-lt"/>
              </a:rPr>
              <a:t>Modelov</a:t>
            </a:r>
            <a:r>
              <a:rPr lang="cs-CZ" sz="1800" dirty="0">
                <a:latin typeface="+mj-lt"/>
              </a:rPr>
              <a:t>é scénáře: 7denní hodnoty na 100 tisíc obyvatel: </a:t>
            </a:r>
            <a:r>
              <a:rPr lang="cs-CZ" sz="1800" dirty="0"/>
              <a:t>Karlovarský kraj</a:t>
            </a:r>
            <a:endParaRPr lang="cs-CZ" sz="1800" dirty="0">
              <a:latin typeface="+mj-lt"/>
            </a:endParaRPr>
          </a:p>
        </p:txBody>
      </p: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EE744899-4831-4573-9408-495F16CA9A16}"/>
              </a:ext>
            </a:extLst>
          </p:cNvPr>
          <p:cNvSpPr txBox="1"/>
          <p:nvPr/>
        </p:nvSpPr>
        <p:spPr>
          <a:xfrm>
            <a:off x="228000" y="6456056"/>
            <a:ext cx="1173470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100" dirty="0">
                <a:solidFill>
                  <a:schemeClr val="accent1"/>
                </a:solidFill>
              </a:rPr>
              <a:t>Hodnota celorepublikového modelu byla lokalizovaná do příslušného kraje se zohledněním trendu nárůstu ve dnech 24. 5. až 31. 5.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776E8261-2B67-4C33-B4F7-528BFCEC26E0}"/>
              </a:ext>
            </a:extLst>
          </p:cNvPr>
          <p:cNvGrpSpPr/>
          <p:nvPr/>
        </p:nvGrpSpPr>
        <p:grpSpPr>
          <a:xfrm>
            <a:off x="10932032" y="583269"/>
            <a:ext cx="1158835" cy="360249"/>
            <a:chOff x="12375318" y="2247704"/>
            <a:chExt cx="1580446" cy="491316"/>
          </a:xfrm>
        </p:grpSpPr>
        <p:pic>
          <p:nvPicPr>
            <p:cNvPr id="33" name="Obrázek 32">
              <a:extLst>
                <a:ext uri="{FF2B5EF4-FFF2-40B4-BE49-F238E27FC236}">
                  <a16:creationId xmlns:a16="http://schemas.microsoft.com/office/drawing/2014/main" id="{CC6750D1-766B-4DC6-A446-888FBBECA4A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2375318" y="2284346"/>
              <a:ext cx="377379" cy="454674"/>
            </a:xfrm>
            <a:prstGeom prst="rect">
              <a:avLst/>
            </a:prstGeom>
          </p:spPr>
        </p:pic>
        <p:pic>
          <p:nvPicPr>
            <p:cNvPr id="34" name="Obrázek 33">
              <a:extLst>
                <a:ext uri="{FF2B5EF4-FFF2-40B4-BE49-F238E27FC236}">
                  <a16:creationId xmlns:a16="http://schemas.microsoft.com/office/drawing/2014/main" id="{EA8558FC-EC62-4A66-84EF-00BCCE67853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2882808" y="2247704"/>
              <a:ext cx="1072956" cy="490274"/>
            </a:xfrm>
            <a:prstGeom prst="rect">
              <a:avLst/>
            </a:prstGeom>
          </p:spPr>
        </p:pic>
      </p:grp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69B9024C-9775-4C3C-889F-0FEAED08B89C}"/>
              </a:ext>
            </a:extLst>
          </p:cNvPr>
          <p:cNvSpPr txBox="1"/>
          <p:nvPr/>
        </p:nvSpPr>
        <p:spPr>
          <a:xfrm>
            <a:off x="5470252" y="1231063"/>
            <a:ext cx="194504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pl-PL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 uzavřenému dni 27. 6. 2021</a:t>
            </a: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74872861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B1276870-99EE-4D94-8977-D4A2442A6BF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34360664"/>
              </p:ext>
            </p:extLst>
          </p:nvPr>
        </p:nvGraphicFramePr>
        <p:xfrm>
          <a:off x="556549" y="3273786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399F9D63-C378-4018-B97A-C6FF1B38BBF2}"/>
              </a:ext>
            </a:extLst>
          </p:cNvPr>
          <p:cNvSpPr txBox="1"/>
          <p:nvPr/>
        </p:nvSpPr>
        <p:spPr>
          <a:xfrm>
            <a:off x="214075" y="1050497"/>
            <a:ext cx="38671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 dle hodnoty reprodukčního čísla 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69B8FCCD-AB42-495D-8900-E0EDAF4D3695}"/>
              </a:ext>
            </a:extLst>
          </p:cNvPr>
          <p:cNvSpPr txBox="1"/>
          <p:nvPr/>
        </p:nvSpPr>
        <p:spPr>
          <a:xfrm>
            <a:off x="4792918" y="638978"/>
            <a:ext cx="5031486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vý scénář (R = 1,10)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915432FB-02C6-4A48-823E-AAFFD38F04CD}"/>
              </a:ext>
            </a:extLst>
          </p:cNvPr>
          <p:cNvSpPr txBox="1"/>
          <p:nvPr/>
        </p:nvSpPr>
        <p:spPr>
          <a:xfrm>
            <a:off x="4792918" y="1947883"/>
            <a:ext cx="5031486" cy="369332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zpomalení (R = 0,70)</a:t>
            </a:r>
          </a:p>
        </p:txBody>
      </p:sp>
      <p:cxnSp>
        <p:nvCxnSpPr>
          <p:cNvPr id="10" name="Přímá spojnice se šipkou 9">
            <a:extLst>
              <a:ext uri="{FF2B5EF4-FFF2-40B4-BE49-F238E27FC236}">
                <a16:creationId xmlns:a16="http://schemas.microsoft.com/office/drawing/2014/main" id="{2FBBF0DE-751C-4A8D-9688-745F518DEA63}"/>
              </a:ext>
            </a:extLst>
          </p:cNvPr>
          <p:cNvCxnSpPr/>
          <p:nvPr/>
        </p:nvCxnSpPr>
        <p:spPr>
          <a:xfrm flipV="1">
            <a:off x="4154743" y="864532"/>
            <a:ext cx="523875" cy="56949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Přímá spojnice se šipkou 10">
            <a:extLst>
              <a:ext uri="{FF2B5EF4-FFF2-40B4-BE49-F238E27FC236}">
                <a16:creationId xmlns:a16="http://schemas.microsoft.com/office/drawing/2014/main" id="{427BD7B2-178E-45A0-B634-921C0C8A629F}"/>
              </a:ext>
            </a:extLst>
          </p:cNvPr>
          <p:cNvCxnSpPr/>
          <p:nvPr/>
        </p:nvCxnSpPr>
        <p:spPr>
          <a:xfrm>
            <a:off x="4154743" y="1503447"/>
            <a:ext cx="523875" cy="64073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6">
            <a:extLst>
              <a:ext uri="{FF2B5EF4-FFF2-40B4-BE49-F238E27FC236}">
                <a16:creationId xmlns:a16="http://schemas.microsoft.com/office/drawing/2014/main" id="{69CEF138-18A8-4271-9FEF-402DB7C25B86}"/>
              </a:ext>
            </a:extLst>
          </p:cNvPr>
          <p:cNvSpPr txBox="1"/>
          <p:nvPr/>
        </p:nvSpPr>
        <p:spPr>
          <a:xfrm>
            <a:off x="489851" y="2893021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D297EC6B-32AF-493A-B2A7-B285C8CEF178}"/>
              </a:ext>
            </a:extLst>
          </p:cNvPr>
          <p:cNvSpPr txBox="1"/>
          <p:nvPr/>
        </p:nvSpPr>
        <p:spPr>
          <a:xfrm>
            <a:off x="4475378" y="2789253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10</a:t>
            </a: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3C9B186B-8163-428B-A364-E90D3144B57D}"/>
              </a:ext>
            </a:extLst>
          </p:cNvPr>
          <p:cNvSpPr/>
          <p:nvPr/>
        </p:nvSpPr>
        <p:spPr>
          <a:xfrm>
            <a:off x="7952761" y="2841929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35669B2F-D612-4664-B709-53D98132D57A}"/>
              </a:ext>
            </a:extLst>
          </p:cNvPr>
          <p:cNvSpPr txBox="1"/>
          <p:nvPr/>
        </p:nvSpPr>
        <p:spPr>
          <a:xfrm>
            <a:off x="8249942" y="2790122"/>
            <a:ext cx="15734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9" name="Přímá spojnice 18">
            <a:extLst>
              <a:ext uri="{FF2B5EF4-FFF2-40B4-BE49-F238E27FC236}">
                <a16:creationId xmlns:a16="http://schemas.microsoft.com/office/drawing/2014/main" id="{76B85254-1A7D-488E-9830-3F99A7742F43}"/>
              </a:ext>
            </a:extLst>
          </p:cNvPr>
          <p:cNvCxnSpPr>
            <a:cxnSpLocks/>
          </p:cNvCxnSpPr>
          <p:nvPr/>
        </p:nvCxnSpPr>
        <p:spPr>
          <a:xfrm>
            <a:off x="4180633" y="2944288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7DE1342D-EB8B-4B07-AF76-9D71853830EC}"/>
              </a:ext>
            </a:extLst>
          </p:cNvPr>
          <p:cNvSpPr txBox="1"/>
          <p:nvPr/>
        </p:nvSpPr>
        <p:spPr>
          <a:xfrm>
            <a:off x="4475378" y="3014473"/>
            <a:ext cx="313540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0	</a:t>
            </a:r>
          </a:p>
        </p:txBody>
      </p: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E4706C2C-C343-4CD4-BC4A-ED6979CFCE85}"/>
              </a:ext>
            </a:extLst>
          </p:cNvPr>
          <p:cNvCxnSpPr>
            <a:cxnSpLocks/>
          </p:cNvCxnSpPr>
          <p:nvPr/>
        </p:nvCxnSpPr>
        <p:spPr>
          <a:xfrm>
            <a:off x="4180633" y="3167595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24">
            <a:extLst>
              <a:ext uri="{FF2B5EF4-FFF2-40B4-BE49-F238E27FC236}">
                <a16:creationId xmlns:a16="http://schemas.microsoft.com/office/drawing/2014/main" id="{E453CAE8-274D-40EB-837F-1DFE06B3FC2E}"/>
              </a:ext>
            </a:extLst>
          </p:cNvPr>
          <p:cNvCxnSpPr>
            <a:cxnSpLocks/>
          </p:cNvCxnSpPr>
          <p:nvPr/>
        </p:nvCxnSpPr>
        <p:spPr>
          <a:xfrm>
            <a:off x="4180633" y="3387705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66CCB7E5-B893-4905-A783-B3A264BEFB90}"/>
              </a:ext>
            </a:extLst>
          </p:cNvPr>
          <p:cNvSpPr txBox="1"/>
          <p:nvPr/>
        </p:nvSpPr>
        <p:spPr>
          <a:xfrm>
            <a:off x="10091064" y="3879119"/>
            <a:ext cx="1544387" cy="83099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8. </a:t>
            </a:r>
            <a:r>
              <a:rPr lang="cs-CZ" sz="1200" b="1" dirty="0">
                <a:solidFill>
                  <a:prstClr val="black"/>
                </a:solidFill>
                <a:latin typeface="Calibri" panose="020F0502020204030204"/>
              </a:rPr>
              <a:t>7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2021</a:t>
            </a: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78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16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4 predikovaných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266137AA-9182-40A3-A142-5179882050AD}"/>
              </a:ext>
            </a:extLst>
          </p:cNvPr>
          <p:cNvSpPr txBox="1"/>
          <p:nvPr/>
        </p:nvSpPr>
        <p:spPr>
          <a:xfrm>
            <a:off x="4467521" y="3238409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7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</a:t>
            </a: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6. 2021, R aplikováno od 24. 5. 2021)</a:t>
            </a: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E32A18E1-478B-49B3-B19F-744DF92D3F6C}"/>
              </a:ext>
            </a:extLst>
          </p:cNvPr>
          <p:cNvSpPr txBox="1"/>
          <p:nvPr/>
        </p:nvSpPr>
        <p:spPr>
          <a:xfrm>
            <a:off x="7780712" y="4294618"/>
            <a:ext cx="1544387" cy="83099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b="1" dirty="0">
                <a:solidFill>
                  <a:prstClr val="black"/>
                </a:solidFill>
                <a:latin typeface="Calibri" panose="020F0502020204030204"/>
              </a:rPr>
              <a:t>30. 6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2021</a:t>
            </a: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55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19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6 predikovaných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22" name="Nadpis 1">
            <a:extLst>
              <a:ext uri="{FF2B5EF4-FFF2-40B4-BE49-F238E27FC236}">
                <a16:creationId xmlns:a16="http://schemas.microsoft.com/office/drawing/2014/main" id="{6518D429-51CE-40C1-89F9-ADE1A20304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ce ve třech scénářích: </a:t>
            </a:r>
            <a:r>
              <a:rPr lang="cs-CZ" dirty="0"/>
              <a:t>Ústecký</a:t>
            </a:r>
            <a:r>
              <a:rPr lang="cs-CZ" dirty="0">
                <a:latin typeface="+mj-lt"/>
              </a:rPr>
              <a:t> kraj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55CA98E9-3F12-45A5-B245-E25115DAE662}"/>
              </a:ext>
            </a:extLst>
          </p:cNvPr>
          <p:cNvGrpSpPr/>
          <p:nvPr/>
        </p:nvGrpSpPr>
        <p:grpSpPr>
          <a:xfrm>
            <a:off x="11002009" y="622266"/>
            <a:ext cx="1106941" cy="258352"/>
            <a:chOff x="12381998" y="598524"/>
            <a:chExt cx="2097028" cy="489432"/>
          </a:xfrm>
        </p:grpSpPr>
        <p:pic>
          <p:nvPicPr>
            <p:cNvPr id="30" name="Picture 2">
              <a:extLst>
                <a:ext uri="{FF2B5EF4-FFF2-40B4-BE49-F238E27FC236}">
                  <a16:creationId xmlns:a16="http://schemas.microsoft.com/office/drawing/2014/main" id="{1010AB9B-9544-4928-B356-5BDE371FA84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81998" y="608400"/>
              <a:ext cx="388441" cy="47955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1" name="Obrázek 30">
              <a:extLst>
                <a:ext uri="{FF2B5EF4-FFF2-40B4-BE49-F238E27FC236}">
                  <a16:creationId xmlns:a16="http://schemas.microsoft.com/office/drawing/2014/main" id="{9862A44F-3ED3-415B-B88C-C1161FBFD8F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2851434" y="598524"/>
              <a:ext cx="1627592" cy="470468"/>
            </a:xfrm>
            <a:prstGeom prst="rect">
              <a:avLst/>
            </a:prstGeom>
          </p:spPr>
        </p:pic>
      </p:grp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E5BB15-4038-442E-A2EA-9ED233AB16AC}"/>
              </a:ext>
            </a:extLst>
          </p:cNvPr>
          <p:cNvSpPr txBox="1"/>
          <p:nvPr/>
        </p:nvSpPr>
        <p:spPr>
          <a:xfrm>
            <a:off x="8249942" y="3001602"/>
            <a:ext cx="194504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pl-PL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 uzavřenému dni 27. 6. 2021</a:t>
            </a: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417417246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ulka 9">
            <a:extLst>
              <a:ext uri="{FF2B5EF4-FFF2-40B4-BE49-F238E27FC236}">
                <a16:creationId xmlns:a16="http://schemas.microsoft.com/office/drawing/2014/main" id="{2CDF3C9D-B366-482C-9DEE-848BF9D72A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10033193"/>
              </p:ext>
            </p:extLst>
          </p:nvPr>
        </p:nvGraphicFramePr>
        <p:xfrm>
          <a:off x="45720" y="1318054"/>
          <a:ext cx="12108951" cy="5019468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18422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3468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93810515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272550134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889585356"/>
                    </a:ext>
                  </a:extLst>
                </a:gridCol>
                <a:gridCol w="1116000">
                  <a:extLst>
                    <a:ext uri="{9D8B030D-6E8A-4147-A177-3AD203B41FA5}">
                      <a16:colId xmlns:a16="http://schemas.microsoft.com/office/drawing/2014/main" val="3083214646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487868241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891010204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340384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264344487"/>
                    </a:ext>
                  </a:extLst>
                </a:gridCol>
                <a:gridCol w="1008000">
                  <a:extLst>
                    <a:ext uri="{9D8B030D-6E8A-4147-A177-3AD203B41FA5}">
                      <a16:colId xmlns:a16="http://schemas.microsoft.com/office/drawing/2014/main" val="13148050"/>
                    </a:ext>
                  </a:extLst>
                </a:gridCol>
                <a:gridCol w="1008000">
                  <a:extLst>
                    <a:ext uri="{9D8B030D-6E8A-4147-A177-3AD203B41FA5}">
                      <a16:colId xmlns:a16="http://schemas.microsoft.com/office/drawing/2014/main" val="1091220691"/>
                    </a:ext>
                  </a:extLst>
                </a:gridCol>
              </a:tblGrid>
              <a:tr h="822960">
                <a:tc>
                  <a:txBody>
                    <a:bodyPr/>
                    <a:lstStyle/>
                    <a:p>
                      <a:pPr algn="l"/>
                      <a:endParaRPr lang="cs-CZ" sz="16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cs-CZ" sz="1600" u="sng" dirty="0"/>
                        <a:t>Predikovaný celkový počet</a:t>
                      </a:r>
                      <a:r>
                        <a:rPr lang="cs-CZ" sz="1600" u="none" dirty="0"/>
                        <a:t> </a:t>
                      </a:r>
                      <a:br>
                        <a:rPr lang="cs-CZ" sz="1600" u="none" dirty="0"/>
                      </a:br>
                      <a:r>
                        <a:rPr lang="cs-CZ" sz="1600" u="none" dirty="0"/>
                        <a:t>N</a:t>
                      </a:r>
                      <a:r>
                        <a:rPr lang="cs-CZ" sz="1600" dirty="0"/>
                        <a:t>ově prokázané nákazy COVID-19</a:t>
                      </a:r>
                      <a:endParaRPr lang="cs-CZ" sz="1600" b="1" dirty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alita: naměřené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odnot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u="sng" dirty="0"/>
                        <a:t>Predikovaný průměrný denní počet</a:t>
                      </a:r>
                      <a:r>
                        <a:rPr lang="cs-CZ" sz="1600" dirty="0"/>
                        <a:t> Nově prokázané nákazy COVID-19</a:t>
                      </a:r>
                      <a:endParaRPr lang="cs-CZ" sz="16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600" b="1" dirty="0"/>
                        <a:t>Realita: naměřené</a:t>
                      </a:r>
                    </a:p>
                    <a:p>
                      <a:pPr algn="ctr"/>
                      <a:r>
                        <a:rPr lang="cs-CZ" sz="1600" b="1" dirty="0"/>
                        <a:t>hodnoty</a:t>
                      </a:r>
                      <a:endParaRPr lang="en-US" sz="16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16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87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odnota R</a:t>
                      </a:r>
                      <a:br>
                        <a:rPr lang="cs-CZ" sz="16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od 24</a:t>
                      </a:r>
                      <a:r>
                        <a:rPr lang="en-US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r>
                        <a:rPr lang="cs-CZ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5.)</a:t>
                      </a:r>
                      <a:endParaRPr lang="cs-CZ" sz="16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7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8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9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,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</a:t>
                      </a:r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FF"/>
                        </a:highlight>
                        <a:latin typeface="+mj-lt"/>
                      </a:endParaRP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7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8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9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,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</a:t>
                      </a:r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FF"/>
                        </a:highlight>
                        <a:latin typeface="+mj-lt"/>
                      </a:endParaRP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highlight>
                            <a:srgbClr val="FFFFFF"/>
                          </a:highlight>
                        </a:rPr>
                        <a:t>denní průměr včetně víkendů</a:t>
                      </a:r>
                      <a:endParaRPr lang="en-US" sz="1200" dirty="0">
                        <a:highlight>
                          <a:srgbClr val="FFFFFF"/>
                        </a:highlight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highlight>
                            <a:srgbClr val="FFFFFF"/>
                          </a:highlight>
                        </a:rPr>
                        <a:t>denní průměr v pracovních dnech</a:t>
                      </a:r>
                      <a:endParaRPr lang="cs-CZ" sz="1200" dirty="0">
                        <a:highlight>
                          <a:srgbClr val="FFFFFF"/>
                        </a:highlight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8491739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indent="0" algn="l" fontAlgn="b"/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  <a:r>
                        <a:rPr lang="cs-CZ" sz="1450" b="1" u="none" strike="noStrike" dirty="0">
                          <a:effectLst/>
                        </a:rPr>
                        <a:t>.–13. 6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 tisíce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 tisíce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 tisíce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 tisíce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6621032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50" u="none" strike="noStrike" dirty="0">
                          <a:effectLst/>
                        </a:rPr>
                        <a:t>Období </a:t>
                      </a:r>
                      <a:r>
                        <a:rPr lang="cs-CZ" sz="1450" b="1" u="none" strike="noStrike" dirty="0">
                          <a:effectLst/>
                        </a:rPr>
                        <a:t>14.–20. 6.</a:t>
                      </a:r>
                      <a:endParaRPr lang="cs-CZ" sz="14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 tisíce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 tisíce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 tisíce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62736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1</a:t>
                      </a:r>
                      <a:r>
                        <a:rPr lang="cs-CZ" sz="1450" b="1" u="none" strike="noStrike" dirty="0">
                          <a:effectLst/>
                        </a:rPr>
                        <a:t>.–27. 6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 tisíce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 tisíce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3466947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indent="0" algn="l" fontAlgn="b"/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8. 6.</a:t>
                      </a:r>
                      <a:r>
                        <a:rPr lang="cs-CZ" sz="1450" b="1" u="none" strike="noStrike" dirty="0">
                          <a:effectLst/>
                        </a:rPr>
                        <a:t>–4. 7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 tisíce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 tisíce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7246171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.</a:t>
                      </a:r>
                      <a:r>
                        <a:rPr lang="cs-CZ" sz="1450" b="1" u="none" strike="noStrike" dirty="0">
                          <a:effectLst/>
                        </a:rPr>
                        <a:t>–11. 7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 tisíce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 tisíce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9339872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.</a:t>
                      </a:r>
                      <a:r>
                        <a:rPr lang="cs-CZ" sz="1450" b="1" u="none" strike="noStrike" dirty="0">
                          <a:effectLst/>
                        </a:rPr>
                        <a:t>–18. 7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 tisíce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 tisíce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651041"/>
                  </a:ext>
                </a:extLst>
              </a:tr>
            </a:tbl>
          </a:graphicData>
        </a:graphic>
      </p:graphicFrame>
      <p:sp>
        <p:nvSpPr>
          <p:cNvPr id="9" name="TextovéPole 8">
            <a:extLst>
              <a:ext uri="{FF2B5EF4-FFF2-40B4-BE49-F238E27FC236}">
                <a16:creationId xmlns:a16="http://schemas.microsoft.com/office/drawing/2014/main" id="{E4A0DC13-0AB7-42C0-B44A-C8095E8723E9}"/>
              </a:ext>
            </a:extLst>
          </p:cNvPr>
          <p:cNvSpPr txBox="1"/>
          <p:nvPr/>
        </p:nvSpPr>
        <p:spPr>
          <a:xfrm>
            <a:off x="45720" y="6388483"/>
            <a:ext cx="12090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200" dirty="0">
                <a:solidFill>
                  <a:schemeClr val="accent1"/>
                </a:solidFill>
              </a:rPr>
              <a:t>Predikované počty odpovídají modelovaným hodnotám (kalibrovaným na hodnoty pozorované v pracovních dnech), naměřené hodnoty zahrnují všechny počty hlášené do databáze, včetně potenciálně nižších záchytů nemoci v nepracovních dnech. V případě denního průměrného počtu jsou uvedeny i hodnoty, které zahrnují pouze pracovní dny.</a:t>
            </a:r>
          </a:p>
        </p:txBody>
      </p:sp>
      <p:sp>
        <p:nvSpPr>
          <p:cNvPr id="8" name="Nadpis 1">
            <a:extLst>
              <a:ext uri="{FF2B5EF4-FFF2-40B4-BE49-F238E27FC236}">
                <a16:creationId xmlns:a16="http://schemas.microsoft.com/office/drawing/2014/main" id="{DBBDF33E-D7ED-4B93-A481-745FE41008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558611" cy="576000"/>
          </a:xfrm>
        </p:spPr>
        <p:txBody>
          <a:bodyPr/>
          <a:lstStyle/>
          <a:p>
            <a:r>
              <a:rPr lang="cs-CZ" dirty="0" err="1"/>
              <a:t>Rekalibrace</a:t>
            </a:r>
            <a:r>
              <a:rPr lang="cs-CZ" dirty="0"/>
              <a:t> prediktivního modelu pro </a:t>
            </a:r>
            <a:r>
              <a:rPr lang="cs-CZ" u="sng" dirty="0"/>
              <a:t>nové scénáře</a:t>
            </a:r>
            <a:r>
              <a:rPr lang="cs-CZ" dirty="0"/>
              <a:t>: </a:t>
            </a:r>
            <a:br>
              <a:rPr lang="cs-CZ" dirty="0"/>
            </a:br>
            <a:r>
              <a:rPr lang="cs-CZ" dirty="0"/>
              <a:t>Ústecký kraj</a:t>
            </a:r>
          </a:p>
        </p:txBody>
      </p:sp>
      <p:grpSp>
        <p:nvGrpSpPr>
          <p:cNvPr id="6" name="Skupina 5">
            <a:extLst>
              <a:ext uri="{FF2B5EF4-FFF2-40B4-BE49-F238E27FC236}">
                <a16:creationId xmlns:a16="http://schemas.microsoft.com/office/drawing/2014/main" id="{9413DC20-D0B8-40B7-B926-C542E90F5D14}"/>
              </a:ext>
            </a:extLst>
          </p:cNvPr>
          <p:cNvGrpSpPr/>
          <p:nvPr/>
        </p:nvGrpSpPr>
        <p:grpSpPr>
          <a:xfrm>
            <a:off x="11002009" y="937059"/>
            <a:ext cx="1106941" cy="258352"/>
            <a:chOff x="12381998" y="598524"/>
            <a:chExt cx="2097028" cy="489432"/>
          </a:xfrm>
        </p:grpSpPr>
        <p:pic>
          <p:nvPicPr>
            <p:cNvPr id="7" name="Picture 2">
              <a:extLst>
                <a:ext uri="{FF2B5EF4-FFF2-40B4-BE49-F238E27FC236}">
                  <a16:creationId xmlns:a16="http://schemas.microsoft.com/office/drawing/2014/main" id="{F656083E-5BAB-4338-B933-54CC4C21318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81998" y="608400"/>
              <a:ext cx="388441" cy="47955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" name="Obrázek 10">
              <a:extLst>
                <a:ext uri="{FF2B5EF4-FFF2-40B4-BE49-F238E27FC236}">
                  <a16:creationId xmlns:a16="http://schemas.microsoft.com/office/drawing/2014/main" id="{9039C3DE-6F05-4B1F-83BF-F37889DC80E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2851434" y="598524"/>
              <a:ext cx="1627592" cy="470468"/>
            </a:xfrm>
            <a:prstGeom prst="rect">
              <a:avLst/>
            </a:prstGeom>
          </p:spPr>
        </p:pic>
      </p:grp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F9933098-853C-4156-A77B-ADBFE45F88F0}"/>
              </a:ext>
            </a:extLst>
          </p:cNvPr>
          <p:cNvSpPr txBox="1"/>
          <p:nvPr/>
        </p:nvSpPr>
        <p:spPr>
          <a:xfrm>
            <a:off x="0" y="576002"/>
            <a:ext cx="1231394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600" b="1" dirty="0">
                <a:solidFill>
                  <a:srgbClr val="000000"/>
                </a:solidFill>
              </a:rPr>
              <a:t>Epidemické křivky vytvořeny pomocí modelu pro krátkodobé predikce ÚZIS ČR, </a:t>
            </a:r>
            <a:r>
              <a:rPr lang="pl-PL" sz="1600" b="1" u="sng" dirty="0">
                <a:solidFill>
                  <a:srgbClr val="000000"/>
                </a:solidFill>
              </a:rPr>
              <a:t>predikce odpovídá údajům z 1. 6. 2021.</a:t>
            </a:r>
            <a:endParaRPr lang="cs-CZ" sz="1600" b="1" u="sng" dirty="0">
              <a:solidFill>
                <a:srgbClr val="000000"/>
              </a:solidFill>
            </a:endParaRPr>
          </a:p>
          <a:p>
            <a:pPr lvl="0">
              <a:defRPr/>
            </a:pPr>
            <a:r>
              <a:rPr lang="cs-CZ" sz="1200" b="1" dirty="0">
                <a:solidFill>
                  <a:srgbClr val="000000"/>
                </a:solidFill>
              </a:rPr>
              <a:t>Hodnota celorepublikového modelu byla lokalizovaná do příslušného kraje se zohledněním trendu nárůstu ve </a:t>
            </a:r>
            <a:r>
              <a:rPr lang="pl-PL" sz="1200" b="1" dirty="0">
                <a:solidFill>
                  <a:srgbClr val="000000"/>
                </a:solidFill>
              </a:rPr>
              <a:t>dnech 24. 5. až 31. 5.</a:t>
            </a:r>
          </a:p>
          <a:p>
            <a:pPr lvl="0">
              <a:defRPr/>
            </a:pPr>
            <a:r>
              <a:rPr lang="cs-CZ" sz="1200" b="1" dirty="0">
                <a:solidFill>
                  <a:srgbClr val="000000"/>
                </a:solidFill>
              </a:rPr>
              <a:t>Naměřené hodnoty jsou aktuální </a:t>
            </a:r>
            <a:r>
              <a:rPr lang="pl-PL" sz="1200" b="1" dirty="0">
                <a:solidFill>
                  <a:srgbClr val="000000"/>
                </a:solidFill>
              </a:rPr>
              <a:t>k uzavřenému dni 27. 6. 2021</a:t>
            </a:r>
            <a:r>
              <a:rPr lang="cs-CZ" sz="1200" b="1" dirty="0">
                <a:solidFill>
                  <a:srgbClr val="000000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14060636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B1276870-99EE-4D94-8977-D4A2442A6BF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68134560"/>
              </p:ext>
            </p:extLst>
          </p:nvPr>
        </p:nvGraphicFramePr>
        <p:xfrm>
          <a:off x="556549" y="867747"/>
          <a:ext cx="11354940" cy="5955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5" name="TextovéPole 14">
            <a:extLst>
              <a:ext uri="{FF2B5EF4-FFF2-40B4-BE49-F238E27FC236}">
                <a16:creationId xmlns:a16="http://schemas.microsoft.com/office/drawing/2014/main" id="{D297EC6B-32AF-493A-B2A7-B285C8CEF178}"/>
              </a:ext>
            </a:extLst>
          </p:cNvPr>
          <p:cNvSpPr txBox="1"/>
          <p:nvPr/>
        </p:nvSpPr>
        <p:spPr>
          <a:xfrm>
            <a:off x="1931960" y="976711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10</a:t>
            </a: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3C9B186B-8163-428B-A364-E90D3144B57D}"/>
              </a:ext>
            </a:extLst>
          </p:cNvPr>
          <p:cNvSpPr/>
          <p:nvPr/>
        </p:nvSpPr>
        <p:spPr>
          <a:xfrm>
            <a:off x="5175471" y="1053160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35669B2F-D612-4664-B709-53D98132D57A}"/>
              </a:ext>
            </a:extLst>
          </p:cNvPr>
          <p:cNvSpPr txBox="1"/>
          <p:nvPr/>
        </p:nvSpPr>
        <p:spPr>
          <a:xfrm>
            <a:off x="5472652" y="1001353"/>
            <a:ext cx="15734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9" name="Přímá spojnice 18">
            <a:extLst>
              <a:ext uri="{FF2B5EF4-FFF2-40B4-BE49-F238E27FC236}">
                <a16:creationId xmlns:a16="http://schemas.microsoft.com/office/drawing/2014/main" id="{76B85254-1A7D-488E-9830-3F99A7742F43}"/>
              </a:ext>
            </a:extLst>
          </p:cNvPr>
          <p:cNvCxnSpPr>
            <a:cxnSpLocks/>
          </p:cNvCxnSpPr>
          <p:nvPr/>
        </p:nvCxnSpPr>
        <p:spPr>
          <a:xfrm>
            <a:off x="1637215" y="1131746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7DE1342D-EB8B-4B07-AF76-9D71853830EC}"/>
              </a:ext>
            </a:extLst>
          </p:cNvPr>
          <p:cNvSpPr txBox="1"/>
          <p:nvPr/>
        </p:nvSpPr>
        <p:spPr>
          <a:xfrm>
            <a:off x="1931960" y="1201931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0</a:t>
            </a:r>
          </a:p>
        </p:txBody>
      </p: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E4706C2C-C343-4CD4-BC4A-ED6979CFCE85}"/>
              </a:ext>
            </a:extLst>
          </p:cNvPr>
          <p:cNvCxnSpPr>
            <a:cxnSpLocks/>
          </p:cNvCxnSpPr>
          <p:nvPr/>
        </p:nvCxnSpPr>
        <p:spPr>
          <a:xfrm>
            <a:off x="1637215" y="1355053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24">
            <a:extLst>
              <a:ext uri="{FF2B5EF4-FFF2-40B4-BE49-F238E27FC236}">
                <a16:creationId xmlns:a16="http://schemas.microsoft.com/office/drawing/2014/main" id="{E453CAE8-274D-40EB-837F-1DFE06B3FC2E}"/>
              </a:ext>
            </a:extLst>
          </p:cNvPr>
          <p:cNvCxnSpPr>
            <a:cxnSpLocks/>
          </p:cNvCxnSpPr>
          <p:nvPr/>
        </p:nvCxnSpPr>
        <p:spPr>
          <a:xfrm>
            <a:off x="1637215" y="1583552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66CCB7E5-B893-4905-A783-B3A264BEFB90}"/>
              </a:ext>
            </a:extLst>
          </p:cNvPr>
          <p:cNvSpPr txBox="1"/>
          <p:nvPr/>
        </p:nvSpPr>
        <p:spPr>
          <a:xfrm>
            <a:off x="9546722" y="2199307"/>
            <a:ext cx="1945049" cy="100027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b="1" dirty="0">
                <a:solidFill>
                  <a:prstClr val="black"/>
                </a:solidFill>
                <a:latin typeface="Calibri" panose="020F0502020204030204"/>
              </a:rPr>
              <a:t>18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7. 2021</a:t>
            </a:r>
          </a:p>
          <a:p>
            <a:pPr lvl="0" algn="r"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7denní </a:t>
            </a:r>
            <a:r>
              <a:rPr lang="cs-CZ" sz="1100" dirty="0" err="1">
                <a:solidFill>
                  <a:prstClr val="black"/>
                </a:solidFill>
                <a:latin typeface="Calibri" panose="020F0502020204030204"/>
              </a:rPr>
              <a:t>kum</a:t>
            </a: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. počet na 100 tis.)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63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14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3 na 100 tisíc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266137AA-9182-40A3-A142-5179882050AD}"/>
              </a:ext>
            </a:extLst>
          </p:cNvPr>
          <p:cNvSpPr txBox="1"/>
          <p:nvPr/>
        </p:nvSpPr>
        <p:spPr>
          <a:xfrm>
            <a:off x="1924103" y="1434256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70</a:t>
            </a:r>
          </a:p>
          <a:p>
            <a:pPr lvl="0"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scénáře ze dne 1. 6. 2021, R aplikováno od 24. 5. 2021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E32A18E1-478B-49B3-B19F-744DF92D3F6C}"/>
              </a:ext>
            </a:extLst>
          </p:cNvPr>
          <p:cNvSpPr txBox="1"/>
          <p:nvPr/>
        </p:nvSpPr>
        <p:spPr>
          <a:xfrm>
            <a:off x="7273125" y="2199307"/>
            <a:ext cx="1945048" cy="100027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b="1" dirty="0">
                <a:solidFill>
                  <a:prstClr val="black"/>
                </a:solidFill>
                <a:latin typeface="Calibri" panose="020F0502020204030204"/>
              </a:rPr>
              <a:t>30. 6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2021 </a:t>
            </a:r>
            <a:b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7denní </a:t>
            </a:r>
            <a:r>
              <a:rPr lang="cs-CZ" sz="1100" dirty="0" err="1">
                <a:solidFill>
                  <a:prstClr val="black"/>
                </a:solidFill>
                <a:latin typeface="Calibri" panose="020F0502020204030204"/>
              </a:rPr>
              <a:t>kum</a:t>
            </a: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. počet na 100 tis.)</a:t>
            </a:r>
            <a:endParaRPr kumimoji="0" lang="cs-CZ" sz="12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45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17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6 na 100 tisíc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30" name="TextBox 6">
            <a:extLst>
              <a:ext uri="{FF2B5EF4-FFF2-40B4-BE49-F238E27FC236}">
                <a16:creationId xmlns:a16="http://schemas.microsoft.com/office/drawing/2014/main" id="{8B058FAD-246D-4FB5-9A38-9461A45D5931}"/>
              </a:ext>
            </a:extLst>
          </p:cNvPr>
          <p:cNvSpPr txBox="1"/>
          <p:nvPr/>
        </p:nvSpPr>
        <p:spPr>
          <a:xfrm rot="16200000">
            <a:off x="-1483263" y="3360473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2AE1522-C017-42C8-A5BD-E7F3E887F3AA}"/>
              </a:ext>
            </a:extLst>
          </p:cNvPr>
          <p:cNvSpPr txBox="1"/>
          <p:nvPr/>
        </p:nvSpPr>
        <p:spPr>
          <a:xfrm>
            <a:off x="7780712" y="1826572"/>
            <a:ext cx="29732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i="1" dirty="0"/>
              <a:t>Predikované hodnoty </a:t>
            </a:r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C2CDA8BD-006D-42A8-BA88-064DA323F845}"/>
              </a:ext>
            </a:extLst>
          </p:cNvPr>
          <p:cNvSpPr txBox="1"/>
          <p:nvPr/>
        </p:nvSpPr>
        <p:spPr>
          <a:xfrm>
            <a:off x="11558187" y="3553360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00" b="1" dirty="0">
                <a:latin typeface="Calibri" panose="020F0502020204030204" pitchFamily="34" charset="0"/>
                <a:cs typeface="Calibri" panose="020F0502020204030204" pitchFamily="34" charset="0"/>
              </a:rPr>
              <a:t>100</a:t>
            </a:r>
          </a:p>
          <a:p>
            <a:r>
              <a:rPr lang="cs-CZ" sz="800" dirty="0">
                <a:latin typeface="Calibri" panose="020F0502020204030204" pitchFamily="34" charset="0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5B77FD62-F375-40BF-A635-0F86D4274581}"/>
              </a:ext>
            </a:extLst>
          </p:cNvPr>
          <p:cNvSpPr txBox="1"/>
          <p:nvPr/>
        </p:nvSpPr>
        <p:spPr>
          <a:xfrm>
            <a:off x="11577452" y="4621660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00" b="1" dirty="0">
                <a:latin typeface="Calibri" panose="020F0502020204030204" pitchFamily="34" charset="0"/>
                <a:cs typeface="Calibri" panose="020F0502020204030204" pitchFamily="34" charset="0"/>
              </a:rPr>
              <a:t>50</a:t>
            </a:r>
          </a:p>
          <a:p>
            <a:r>
              <a:rPr lang="cs-CZ" sz="800" dirty="0">
                <a:latin typeface="Calibri" panose="020F0502020204030204" pitchFamily="34" charset="0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31" name="Nadpis 1">
            <a:extLst>
              <a:ext uri="{FF2B5EF4-FFF2-40B4-BE49-F238E27FC236}">
                <a16:creationId xmlns:a16="http://schemas.microsoft.com/office/drawing/2014/main" id="{CFCC2C02-F284-4941-91C6-5CC2566B6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en-US" sz="1800" dirty="0" err="1">
                <a:latin typeface="+mj-lt"/>
              </a:rPr>
              <a:t>Modelov</a:t>
            </a:r>
            <a:r>
              <a:rPr lang="cs-CZ" sz="1800" dirty="0">
                <a:latin typeface="+mj-lt"/>
              </a:rPr>
              <a:t>é scénáře: 7denní hodnoty na 100 tisíc obyvatel:</a:t>
            </a:r>
            <a:br>
              <a:rPr lang="cs-CZ" sz="1800" dirty="0">
                <a:latin typeface="+mj-lt"/>
              </a:rPr>
            </a:br>
            <a:r>
              <a:rPr lang="cs-CZ" sz="1800" dirty="0"/>
              <a:t>Ústecký kraj</a:t>
            </a:r>
            <a:endParaRPr lang="cs-CZ" sz="1800" dirty="0">
              <a:latin typeface="+mj-lt"/>
            </a:endParaRPr>
          </a:p>
        </p:txBody>
      </p: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EE744899-4831-4573-9408-495F16CA9A16}"/>
              </a:ext>
            </a:extLst>
          </p:cNvPr>
          <p:cNvSpPr txBox="1"/>
          <p:nvPr/>
        </p:nvSpPr>
        <p:spPr>
          <a:xfrm>
            <a:off x="228000" y="6456056"/>
            <a:ext cx="1173470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100" dirty="0">
                <a:solidFill>
                  <a:schemeClr val="accent1"/>
                </a:solidFill>
              </a:rPr>
              <a:t>Hodnota celorepublikového modelu byla lokalizovaná do příslušného kraje se zohledněním trendu nárůstu ve dnech 24. 5. až 31. 5.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D6F6FC35-B8B3-4DB0-86D7-49EAD913D3DA}"/>
              </a:ext>
            </a:extLst>
          </p:cNvPr>
          <p:cNvGrpSpPr/>
          <p:nvPr/>
        </p:nvGrpSpPr>
        <p:grpSpPr>
          <a:xfrm>
            <a:off x="11002009" y="622266"/>
            <a:ext cx="1106941" cy="258352"/>
            <a:chOff x="12381998" y="598524"/>
            <a:chExt cx="2097028" cy="489432"/>
          </a:xfrm>
        </p:grpSpPr>
        <p:pic>
          <p:nvPicPr>
            <p:cNvPr id="33" name="Picture 2">
              <a:extLst>
                <a:ext uri="{FF2B5EF4-FFF2-40B4-BE49-F238E27FC236}">
                  <a16:creationId xmlns:a16="http://schemas.microsoft.com/office/drawing/2014/main" id="{FBF10BED-F1F7-4361-BEC4-47E381B6731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81998" y="608400"/>
              <a:ext cx="388441" cy="47955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4" name="Obrázek 33">
              <a:extLst>
                <a:ext uri="{FF2B5EF4-FFF2-40B4-BE49-F238E27FC236}">
                  <a16:creationId xmlns:a16="http://schemas.microsoft.com/office/drawing/2014/main" id="{BB15BC3C-9CDB-4C5F-A62C-DE2A8D4D332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2851434" y="598524"/>
              <a:ext cx="1627592" cy="470468"/>
            </a:xfrm>
            <a:prstGeom prst="rect">
              <a:avLst/>
            </a:prstGeom>
          </p:spPr>
        </p:pic>
      </p:grp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F2B5B62F-CC1B-40B4-AF58-E22AEC2582FF}"/>
              </a:ext>
            </a:extLst>
          </p:cNvPr>
          <p:cNvSpPr txBox="1"/>
          <p:nvPr/>
        </p:nvSpPr>
        <p:spPr>
          <a:xfrm>
            <a:off x="5470252" y="1231063"/>
            <a:ext cx="194504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pl-PL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 uzavřenému dni 27. 6. 2021</a:t>
            </a: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28181160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B1276870-99EE-4D94-8977-D4A2442A6BF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06047928"/>
              </p:ext>
            </p:extLst>
          </p:nvPr>
        </p:nvGraphicFramePr>
        <p:xfrm>
          <a:off x="556549" y="3273786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399F9D63-C378-4018-B97A-C6FF1B38BBF2}"/>
              </a:ext>
            </a:extLst>
          </p:cNvPr>
          <p:cNvSpPr txBox="1"/>
          <p:nvPr/>
        </p:nvSpPr>
        <p:spPr>
          <a:xfrm>
            <a:off x="214075" y="1050497"/>
            <a:ext cx="38671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 dle hodnoty reprodukčního čísla 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69B8FCCD-AB42-495D-8900-E0EDAF4D3695}"/>
              </a:ext>
            </a:extLst>
          </p:cNvPr>
          <p:cNvSpPr txBox="1"/>
          <p:nvPr/>
        </p:nvSpPr>
        <p:spPr>
          <a:xfrm>
            <a:off x="4792918" y="638978"/>
            <a:ext cx="5031486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vý scénář (R = 1,10)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915432FB-02C6-4A48-823E-AAFFD38F04CD}"/>
              </a:ext>
            </a:extLst>
          </p:cNvPr>
          <p:cNvSpPr txBox="1"/>
          <p:nvPr/>
        </p:nvSpPr>
        <p:spPr>
          <a:xfrm>
            <a:off x="4792918" y="1947883"/>
            <a:ext cx="5031486" cy="369332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zpomalení (R = 0,70)</a:t>
            </a:r>
          </a:p>
        </p:txBody>
      </p:sp>
      <p:cxnSp>
        <p:nvCxnSpPr>
          <p:cNvPr id="10" name="Přímá spojnice se šipkou 9">
            <a:extLst>
              <a:ext uri="{FF2B5EF4-FFF2-40B4-BE49-F238E27FC236}">
                <a16:creationId xmlns:a16="http://schemas.microsoft.com/office/drawing/2014/main" id="{2FBBF0DE-751C-4A8D-9688-745F518DEA63}"/>
              </a:ext>
            </a:extLst>
          </p:cNvPr>
          <p:cNvCxnSpPr/>
          <p:nvPr/>
        </p:nvCxnSpPr>
        <p:spPr>
          <a:xfrm flipV="1">
            <a:off x="4154743" y="864532"/>
            <a:ext cx="523875" cy="56949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Přímá spojnice se šipkou 10">
            <a:extLst>
              <a:ext uri="{FF2B5EF4-FFF2-40B4-BE49-F238E27FC236}">
                <a16:creationId xmlns:a16="http://schemas.microsoft.com/office/drawing/2014/main" id="{427BD7B2-178E-45A0-B634-921C0C8A629F}"/>
              </a:ext>
            </a:extLst>
          </p:cNvPr>
          <p:cNvCxnSpPr/>
          <p:nvPr/>
        </p:nvCxnSpPr>
        <p:spPr>
          <a:xfrm>
            <a:off x="4154743" y="1503447"/>
            <a:ext cx="523875" cy="64073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6">
            <a:extLst>
              <a:ext uri="{FF2B5EF4-FFF2-40B4-BE49-F238E27FC236}">
                <a16:creationId xmlns:a16="http://schemas.microsoft.com/office/drawing/2014/main" id="{69CEF138-18A8-4271-9FEF-402DB7C25B86}"/>
              </a:ext>
            </a:extLst>
          </p:cNvPr>
          <p:cNvSpPr txBox="1"/>
          <p:nvPr/>
        </p:nvSpPr>
        <p:spPr>
          <a:xfrm>
            <a:off x="489851" y="2893021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D297EC6B-32AF-493A-B2A7-B285C8CEF178}"/>
              </a:ext>
            </a:extLst>
          </p:cNvPr>
          <p:cNvSpPr txBox="1"/>
          <p:nvPr/>
        </p:nvSpPr>
        <p:spPr>
          <a:xfrm>
            <a:off x="4475378" y="2789253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10</a:t>
            </a: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3C9B186B-8163-428B-A364-E90D3144B57D}"/>
              </a:ext>
            </a:extLst>
          </p:cNvPr>
          <p:cNvSpPr/>
          <p:nvPr/>
        </p:nvSpPr>
        <p:spPr>
          <a:xfrm>
            <a:off x="7952761" y="2841929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35669B2F-D612-4664-B709-53D98132D57A}"/>
              </a:ext>
            </a:extLst>
          </p:cNvPr>
          <p:cNvSpPr txBox="1"/>
          <p:nvPr/>
        </p:nvSpPr>
        <p:spPr>
          <a:xfrm>
            <a:off x="8249942" y="2790122"/>
            <a:ext cx="15734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9" name="Přímá spojnice 18">
            <a:extLst>
              <a:ext uri="{FF2B5EF4-FFF2-40B4-BE49-F238E27FC236}">
                <a16:creationId xmlns:a16="http://schemas.microsoft.com/office/drawing/2014/main" id="{76B85254-1A7D-488E-9830-3F99A7742F43}"/>
              </a:ext>
            </a:extLst>
          </p:cNvPr>
          <p:cNvCxnSpPr>
            <a:cxnSpLocks/>
          </p:cNvCxnSpPr>
          <p:nvPr/>
        </p:nvCxnSpPr>
        <p:spPr>
          <a:xfrm>
            <a:off x="4180633" y="2944288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7DE1342D-EB8B-4B07-AF76-9D71853830EC}"/>
              </a:ext>
            </a:extLst>
          </p:cNvPr>
          <p:cNvSpPr txBox="1"/>
          <p:nvPr/>
        </p:nvSpPr>
        <p:spPr>
          <a:xfrm>
            <a:off x="4475378" y="3014473"/>
            <a:ext cx="313540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0	</a:t>
            </a:r>
          </a:p>
        </p:txBody>
      </p: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E4706C2C-C343-4CD4-BC4A-ED6979CFCE85}"/>
              </a:ext>
            </a:extLst>
          </p:cNvPr>
          <p:cNvCxnSpPr>
            <a:cxnSpLocks/>
          </p:cNvCxnSpPr>
          <p:nvPr/>
        </p:nvCxnSpPr>
        <p:spPr>
          <a:xfrm>
            <a:off x="4180633" y="3167595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24">
            <a:extLst>
              <a:ext uri="{FF2B5EF4-FFF2-40B4-BE49-F238E27FC236}">
                <a16:creationId xmlns:a16="http://schemas.microsoft.com/office/drawing/2014/main" id="{E453CAE8-274D-40EB-837F-1DFE06B3FC2E}"/>
              </a:ext>
            </a:extLst>
          </p:cNvPr>
          <p:cNvCxnSpPr>
            <a:cxnSpLocks/>
          </p:cNvCxnSpPr>
          <p:nvPr/>
        </p:nvCxnSpPr>
        <p:spPr>
          <a:xfrm>
            <a:off x="4180633" y="3387705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66CCB7E5-B893-4905-A783-B3A264BEFB90}"/>
              </a:ext>
            </a:extLst>
          </p:cNvPr>
          <p:cNvSpPr txBox="1"/>
          <p:nvPr/>
        </p:nvSpPr>
        <p:spPr>
          <a:xfrm>
            <a:off x="10091064" y="3879119"/>
            <a:ext cx="1544387" cy="83099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8. </a:t>
            </a:r>
            <a:r>
              <a:rPr lang="cs-CZ" sz="1200" b="1" dirty="0">
                <a:solidFill>
                  <a:prstClr val="black"/>
                </a:solidFill>
                <a:latin typeface="Calibri" panose="020F0502020204030204"/>
              </a:rPr>
              <a:t>7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2021</a:t>
            </a: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52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10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2 predikovaných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266137AA-9182-40A3-A142-5179882050AD}"/>
              </a:ext>
            </a:extLst>
          </p:cNvPr>
          <p:cNvSpPr txBox="1"/>
          <p:nvPr/>
        </p:nvSpPr>
        <p:spPr>
          <a:xfrm>
            <a:off x="4467521" y="3238409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7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</a:t>
            </a: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6. 2021, R aplikováno od 24. 5. 2021)</a:t>
            </a: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E32A18E1-478B-49B3-B19F-744DF92D3F6C}"/>
              </a:ext>
            </a:extLst>
          </p:cNvPr>
          <p:cNvSpPr txBox="1"/>
          <p:nvPr/>
        </p:nvSpPr>
        <p:spPr>
          <a:xfrm>
            <a:off x="7780712" y="4294618"/>
            <a:ext cx="1544387" cy="83099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b="1" dirty="0">
                <a:solidFill>
                  <a:prstClr val="black"/>
                </a:solidFill>
                <a:latin typeface="Calibri" panose="020F0502020204030204"/>
              </a:rPr>
              <a:t>30. 6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2021</a:t>
            </a: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37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13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4 predikovaných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22" name="Nadpis 1">
            <a:extLst>
              <a:ext uri="{FF2B5EF4-FFF2-40B4-BE49-F238E27FC236}">
                <a16:creationId xmlns:a16="http://schemas.microsoft.com/office/drawing/2014/main" id="{6518D429-51CE-40C1-89F9-ADE1A20304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ce ve třech scénářích: </a:t>
            </a:r>
            <a:r>
              <a:rPr lang="cs-CZ" dirty="0"/>
              <a:t>Liberecký</a:t>
            </a:r>
            <a:r>
              <a:rPr lang="cs-CZ" dirty="0">
                <a:latin typeface="+mj-lt"/>
              </a:rPr>
              <a:t> kraj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F95AB3A1-66AD-4F90-923E-58DA24A2ACA2}"/>
              </a:ext>
            </a:extLst>
          </p:cNvPr>
          <p:cNvGrpSpPr/>
          <p:nvPr/>
        </p:nvGrpSpPr>
        <p:grpSpPr>
          <a:xfrm>
            <a:off x="11213431" y="654465"/>
            <a:ext cx="885789" cy="249232"/>
            <a:chOff x="12375318" y="2890002"/>
            <a:chExt cx="1689602" cy="475399"/>
          </a:xfrm>
        </p:grpSpPr>
        <p:pic>
          <p:nvPicPr>
            <p:cNvPr id="30" name="Obrázek 29">
              <a:extLst>
                <a:ext uri="{FF2B5EF4-FFF2-40B4-BE49-F238E27FC236}">
                  <a16:creationId xmlns:a16="http://schemas.microsoft.com/office/drawing/2014/main" id="{E3D1087B-18D3-433E-AF83-05324266E08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2375318" y="2926201"/>
              <a:ext cx="364634" cy="439200"/>
            </a:xfrm>
            <a:prstGeom prst="rect">
              <a:avLst/>
            </a:prstGeom>
          </p:spPr>
        </p:pic>
        <p:pic>
          <p:nvPicPr>
            <p:cNvPr id="31" name="Obrázek 30">
              <a:extLst>
                <a:ext uri="{FF2B5EF4-FFF2-40B4-BE49-F238E27FC236}">
                  <a16:creationId xmlns:a16="http://schemas.microsoft.com/office/drawing/2014/main" id="{F8F3D312-CF77-42CC-B5A2-88110AB3AB3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6842" t="32400" r="5593" b="32385"/>
            <a:stretch/>
          </p:blipFill>
          <p:spPr>
            <a:xfrm>
              <a:off x="12882808" y="2890002"/>
              <a:ext cx="1182112" cy="475399"/>
            </a:xfrm>
            <a:prstGeom prst="rect">
              <a:avLst/>
            </a:prstGeom>
          </p:spPr>
        </p:pic>
      </p:grp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86B00A68-FB57-488B-B0CB-6D17F9D89E6A}"/>
              </a:ext>
            </a:extLst>
          </p:cNvPr>
          <p:cNvSpPr txBox="1"/>
          <p:nvPr/>
        </p:nvSpPr>
        <p:spPr>
          <a:xfrm>
            <a:off x="8249942" y="3001602"/>
            <a:ext cx="194504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pl-PL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 uzavřenému dni 27. 6. 2021</a:t>
            </a: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01288327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ulka 9">
            <a:extLst>
              <a:ext uri="{FF2B5EF4-FFF2-40B4-BE49-F238E27FC236}">
                <a16:creationId xmlns:a16="http://schemas.microsoft.com/office/drawing/2014/main" id="{2CDF3C9D-B366-482C-9DEE-848BF9D72A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33907875"/>
              </p:ext>
            </p:extLst>
          </p:nvPr>
        </p:nvGraphicFramePr>
        <p:xfrm>
          <a:off x="45720" y="1318054"/>
          <a:ext cx="12108951" cy="5019468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18422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3468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93810515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272550134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889585356"/>
                    </a:ext>
                  </a:extLst>
                </a:gridCol>
                <a:gridCol w="1116000">
                  <a:extLst>
                    <a:ext uri="{9D8B030D-6E8A-4147-A177-3AD203B41FA5}">
                      <a16:colId xmlns:a16="http://schemas.microsoft.com/office/drawing/2014/main" val="3083214646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487868241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891010204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340384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264344487"/>
                    </a:ext>
                  </a:extLst>
                </a:gridCol>
                <a:gridCol w="1008000">
                  <a:extLst>
                    <a:ext uri="{9D8B030D-6E8A-4147-A177-3AD203B41FA5}">
                      <a16:colId xmlns:a16="http://schemas.microsoft.com/office/drawing/2014/main" val="13148050"/>
                    </a:ext>
                  </a:extLst>
                </a:gridCol>
                <a:gridCol w="1008000">
                  <a:extLst>
                    <a:ext uri="{9D8B030D-6E8A-4147-A177-3AD203B41FA5}">
                      <a16:colId xmlns:a16="http://schemas.microsoft.com/office/drawing/2014/main" val="1091220691"/>
                    </a:ext>
                  </a:extLst>
                </a:gridCol>
              </a:tblGrid>
              <a:tr h="822960">
                <a:tc>
                  <a:txBody>
                    <a:bodyPr/>
                    <a:lstStyle/>
                    <a:p>
                      <a:pPr algn="l"/>
                      <a:endParaRPr lang="cs-CZ" sz="16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cs-CZ" sz="1600" u="sng" dirty="0"/>
                        <a:t>Predikovaný celkový počet</a:t>
                      </a:r>
                      <a:r>
                        <a:rPr lang="cs-CZ" sz="1600" u="none" dirty="0"/>
                        <a:t> </a:t>
                      </a:r>
                      <a:br>
                        <a:rPr lang="cs-CZ" sz="1600" u="none" dirty="0"/>
                      </a:br>
                      <a:r>
                        <a:rPr lang="cs-CZ" sz="1600" u="none" dirty="0"/>
                        <a:t>N</a:t>
                      </a:r>
                      <a:r>
                        <a:rPr lang="cs-CZ" sz="1600" dirty="0"/>
                        <a:t>ově prokázané nákazy COVID-19</a:t>
                      </a:r>
                      <a:endParaRPr lang="cs-CZ" sz="1600" b="1" dirty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alita: naměřené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odnot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u="sng" dirty="0"/>
                        <a:t>Predikovaný průměrný denní počet</a:t>
                      </a:r>
                      <a:r>
                        <a:rPr lang="cs-CZ" sz="1600" dirty="0"/>
                        <a:t> Nově prokázané nákazy COVID-19</a:t>
                      </a:r>
                      <a:endParaRPr lang="cs-CZ" sz="16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600" b="1" dirty="0"/>
                        <a:t>Realita: naměřené</a:t>
                      </a:r>
                    </a:p>
                    <a:p>
                      <a:pPr algn="ctr"/>
                      <a:r>
                        <a:rPr lang="cs-CZ" sz="1600" b="1" dirty="0"/>
                        <a:t>hodnoty</a:t>
                      </a:r>
                      <a:endParaRPr lang="en-US" sz="16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16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87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odnota R</a:t>
                      </a:r>
                      <a:br>
                        <a:rPr lang="cs-CZ" sz="16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od 24</a:t>
                      </a:r>
                      <a:r>
                        <a:rPr lang="en-US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r>
                        <a:rPr lang="cs-CZ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5.)</a:t>
                      </a:r>
                      <a:endParaRPr lang="cs-CZ" sz="16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7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8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9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,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</a:t>
                      </a:r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FF"/>
                        </a:highlight>
                        <a:latin typeface="+mj-lt"/>
                      </a:endParaRP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7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8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9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,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</a:t>
                      </a:r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FF"/>
                        </a:highlight>
                        <a:latin typeface="+mj-lt"/>
                      </a:endParaRP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highlight>
                            <a:srgbClr val="FFFFFF"/>
                          </a:highlight>
                        </a:rPr>
                        <a:t>denní průměr včetně víkendů</a:t>
                      </a:r>
                      <a:endParaRPr lang="en-US" sz="1200" dirty="0">
                        <a:highlight>
                          <a:srgbClr val="FFFFFF"/>
                        </a:highlight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highlight>
                            <a:srgbClr val="FFFFFF"/>
                          </a:highlight>
                        </a:rPr>
                        <a:t>denní průměr v pracovních dnech</a:t>
                      </a:r>
                      <a:endParaRPr lang="cs-CZ" sz="1200" dirty="0">
                        <a:highlight>
                          <a:srgbClr val="FFFFFF"/>
                        </a:highlight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8491739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indent="0" algn="l" fontAlgn="b"/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  <a:r>
                        <a:rPr lang="cs-CZ" sz="1450" b="1" u="none" strike="noStrike" dirty="0">
                          <a:effectLst/>
                        </a:rPr>
                        <a:t>.–13. 6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3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 tisíce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 tisíce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6621032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50" u="none" strike="noStrike" dirty="0">
                          <a:effectLst/>
                        </a:rPr>
                        <a:t>Období </a:t>
                      </a:r>
                      <a:r>
                        <a:rPr lang="cs-CZ" sz="1450" b="1" u="none" strike="noStrike" dirty="0">
                          <a:effectLst/>
                        </a:rPr>
                        <a:t>14.–20. 6.</a:t>
                      </a:r>
                      <a:endParaRPr lang="cs-CZ" sz="14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 tisíce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 tisíce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62736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1</a:t>
                      </a:r>
                      <a:r>
                        <a:rPr lang="cs-CZ" sz="1450" b="1" u="none" strike="noStrike" dirty="0">
                          <a:effectLst/>
                        </a:rPr>
                        <a:t>.–27. 6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 tisíce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3466947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indent="0" algn="l" fontAlgn="b"/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8. 6.</a:t>
                      </a:r>
                      <a:r>
                        <a:rPr lang="cs-CZ" sz="1450" b="1" u="none" strike="noStrike" dirty="0">
                          <a:effectLst/>
                        </a:rPr>
                        <a:t>–4. 7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 tisíce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7246171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.</a:t>
                      </a:r>
                      <a:r>
                        <a:rPr lang="cs-CZ" sz="1450" b="1" u="none" strike="noStrike" dirty="0">
                          <a:effectLst/>
                        </a:rPr>
                        <a:t>–11. 7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 tisíce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9339872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.</a:t>
                      </a:r>
                      <a:r>
                        <a:rPr lang="cs-CZ" sz="1450" b="1" u="none" strike="noStrike" dirty="0">
                          <a:effectLst/>
                        </a:rPr>
                        <a:t>–18. 7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 tisíce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651041"/>
                  </a:ext>
                </a:extLst>
              </a:tr>
            </a:tbl>
          </a:graphicData>
        </a:graphic>
      </p:graphicFrame>
      <p:sp>
        <p:nvSpPr>
          <p:cNvPr id="9" name="TextovéPole 8">
            <a:extLst>
              <a:ext uri="{FF2B5EF4-FFF2-40B4-BE49-F238E27FC236}">
                <a16:creationId xmlns:a16="http://schemas.microsoft.com/office/drawing/2014/main" id="{E4A0DC13-0AB7-42C0-B44A-C8095E8723E9}"/>
              </a:ext>
            </a:extLst>
          </p:cNvPr>
          <p:cNvSpPr txBox="1"/>
          <p:nvPr/>
        </p:nvSpPr>
        <p:spPr>
          <a:xfrm>
            <a:off x="45720" y="6388483"/>
            <a:ext cx="12090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200" dirty="0">
                <a:solidFill>
                  <a:schemeClr val="accent1"/>
                </a:solidFill>
              </a:rPr>
              <a:t>Predikované počty odpovídají modelovaným hodnotám (kalibrovaným na hodnoty pozorované v pracovních dnech), naměřené hodnoty zahrnují všechny počty hlášené do databáze, včetně potenciálně nižších záchytů nemoci v nepracovních dnech. V případě denního průměrného počtu jsou uvedeny i hodnoty, které zahrnují pouze pracovní dny.</a:t>
            </a:r>
          </a:p>
        </p:txBody>
      </p:sp>
      <p:sp>
        <p:nvSpPr>
          <p:cNvPr id="8" name="Nadpis 1">
            <a:extLst>
              <a:ext uri="{FF2B5EF4-FFF2-40B4-BE49-F238E27FC236}">
                <a16:creationId xmlns:a16="http://schemas.microsoft.com/office/drawing/2014/main" id="{DBBDF33E-D7ED-4B93-A481-745FE41008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558611" cy="576000"/>
          </a:xfrm>
        </p:spPr>
        <p:txBody>
          <a:bodyPr/>
          <a:lstStyle/>
          <a:p>
            <a:r>
              <a:rPr lang="cs-CZ" dirty="0" err="1"/>
              <a:t>Rekalibrace</a:t>
            </a:r>
            <a:r>
              <a:rPr lang="cs-CZ" dirty="0"/>
              <a:t> prediktivního modelu pro </a:t>
            </a:r>
            <a:r>
              <a:rPr lang="cs-CZ" u="sng" dirty="0"/>
              <a:t>nové scénáře</a:t>
            </a:r>
            <a:r>
              <a:rPr lang="cs-CZ" dirty="0"/>
              <a:t>: </a:t>
            </a:r>
            <a:br>
              <a:rPr lang="cs-CZ" dirty="0"/>
            </a:br>
            <a:r>
              <a:rPr lang="cs-CZ" dirty="0"/>
              <a:t>Liberecký kraj</a:t>
            </a:r>
          </a:p>
        </p:txBody>
      </p:sp>
      <p:grpSp>
        <p:nvGrpSpPr>
          <p:cNvPr id="6" name="Skupina 5">
            <a:extLst>
              <a:ext uri="{FF2B5EF4-FFF2-40B4-BE49-F238E27FC236}">
                <a16:creationId xmlns:a16="http://schemas.microsoft.com/office/drawing/2014/main" id="{CD9D88BD-FBFC-4498-94FF-4CA1CD962854}"/>
              </a:ext>
            </a:extLst>
          </p:cNvPr>
          <p:cNvGrpSpPr/>
          <p:nvPr/>
        </p:nvGrpSpPr>
        <p:grpSpPr>
          <a:xfrm>
            <a:off x="11213431" y="939275"/>
            <a:ext cx="885789" cy="249232"/>
            <a:chOff x="12375318" y="2890002"/>
            <a:chExt cx="1689602" cy="475399"/>
          </a:xfrm>
        </p:grpSpPr>
        <p:pic>
          <p:nvPicPr>
            <p:cNvPr id="7" name="Obrázek 6">
              <a:extLst>
                <a:ext uri="{FF2B5EF4-FFF2-40B4-BE49-F238E27FC236}">
                  <a16:creationId xmlns:a16="http://schemas.microsoft.com/office/drawing/2014/main" id="{CF56E569-49A7-401F-9423-DCC0F00A690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375318" y="2926201"/>
              <a:ext cx="364634" cy="439200"/>
            </a:xfrm>
            <a:prstGeom prst="rect">
              <a:avLst/>
            </a:prstGeom>
          </p:spPr>
        </p:pic>
        <p:pic>
          <p:nvPicPr>
            <p:cNvPr id="11" name="Obrázek 10">
              <a:extLst>
                <a:ext uri="{FF2B5EF4-FFF2-40B4-BE49-F238E27FC236}">
                  <a16:creationId xmlns:a16="http://schemas.microsoft.com/office/drawing/2014/main" id="{AD7F3708-3606-42D1-9D7A-EF7D01393F4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6842" t="32400" r="5593" b="32385"/>
            <a:stretch/>
          </p:blipFill>
          <p:spPr>
            <a:xfrm>
              <a:off x="12882808" y="2890002"/>
              <a:ext cx="1182112" cy="475399"/>
            </a:xfrm>
            <a:prstGeom prst="rect">
              <a:avLst/>
            </a:prstGeom>
          </p:spPr>
        </p:pic>
      </p:grp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40D4AFA2-18FA-45A4-A133-97BEA5EE6A7F}"/>
              </a:ext>
            </a:extLst>
          </p:cNvPr>
          <p:cNvSpPr txBox="1"/>
          <p:nvPr/>
        </p:nvSpPr>
        <p:spPr>
          <a:xfrm>
            <a:off x="0" y="576002"/>
            <a:ext cx="1231394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600" b="1" dirty="0">
                <a:solidFill>
                  <a:srgbClr val="000000"/>
                </a:solidFill>
              </a:rPr>
              <a:t>Epidemické křivky vytvořeny pomocí modelu pro krátkodobé predikce ÚZIS ČR, </a:t>
            </a:r>
            <a:r>
              <a:rPr lang="pl-PL" sz="1600" b="1" u="sng" dirty="0">
                <a:solidFill>
                  <a:srgbClr val="000000"/>
                </a:solidFill>
              </a:rPr>
              <a:t>predikce odpovídá údajům z 1. 6. 2021.</a:t>
            </a:r>
            <a:endParaRPr lang="cs-CZ" sz="1600" b="1" u="sng" dirty="0">
              <a:solidFill>
                <a:srgbClr val="000000"/>
              </a:solidFill>
            </a:endParaRPr>
          </a:p>
          <a:p>
            <a:pPr lvl="0">
              <a:defRPr/>
            </a:pPr>
            <a:r>
              <a:rPr lang="cs-CZ" sz="1200" b="1" dirty="0">
                <a:solidFill>
                  <a:srgbClr val="000000"/>
                </a:solidFill>
              </a:rPr>
              <a:t>Hodnota celorepublikového modelu byla lokalizovaná do příslušného kraje se zohledněním trendu nárůstu ve </a:t>
            </a:r>
            <a:r>
              <a:rPr lang="pl-PL" sz="1200" b="1" dirty="0">
                <a:solidFill>
                  <a:srgbClr val="000000"/>
                </a:solidFill>
              </a:rPr>
              <a:t>dnech 24. 5. až 31. 5.</a:t>
            </a:r>
          </a:p>
          <a:p>
            <a:pPr lvl="0">
              <a:defRPr/>
            </a:pPr>
            <a:r>
              <a:rPr lang="cs-CZ" sz="1200" b="1" dirty="0">
                <a:solidFill>
                  <a:srgbClr val="000000"/>
                </a:solidFill>
              </a:rPr>
              <a:t>Naměřené hodnoty jsou aktuální </a:t>
            </a:r>
            <a:r>
              <a:rPr lang="pl-PL" sz="1200" b="1" dirty="0">
                <a:solidFill>
                  <a:srgbClr val="000000"/>
                </a:solidFill>
              </a:rPr>
              <a:t>k uzavřenému dni 27. 6. 2021</a:t>
            </a:r>
            <a:r>
              <a:rPr lang="cs-CZ" sz="1200" b="1" dirty="0">
                <a:solidFill>
                  <a:srgbClr val="000000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98854158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B1276870-99EE-4D94-8977-D4A2442A6BF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74117409"/>
              </p:ext>
            </p:extLst>
          </p:nvPr>
        </p:nvGraphicFramePr>
        <p:xfrm>
          <a:off x="556549" y="867747"/>
          <a:ext cx="11354940" cy="5955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5" name="TextovéPole 14">
            <a:extLst>
              <a:ext uri="{FF2B5EF4-FFF2-40B4-BE49-F238E27FC236}">
                <a16:creationId xmlns:a16="http://schemas.microsoft.com/office/drawing/2014/main" id="{D297EC6B-32AF-493A-B2A7-B285C8CEF178}"/>
              </a:ext>
            </a:extLst>
          </p:cNvPr>
          <p:cNvSpPr txBox="1"/>
          <p:nvPr/>
        </p:nvSpPr>
        <p:spPr>
          <a:xfrm>
            <a:off x="1931960" y="976711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10</a:t>
            </a: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3C9B186B-8163-428B-A364-E90D3144B57D}"/>
              </a:ext>
            </a:extLst>
          </p:cNvPr>
          <p:cNvSpPr/>
          <p:nvPr/>
        </p:nvSpPr>
        <p:spPr>
          <a:xfrm>
            <a:off x="5175471" y="1053160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35669B2F-D612-4664-B709-53D98132D57A}"/>
              </a:ext>
            </a:extLst>
          </p:cNvPr>
          <p:cNvSpPr txBox="1"/>
          <p:nvPr/>
        </p:nvSpPr>
        <p:spPr>
          <a:xfrm>
            <a:off x="5472652" y="1001353"/>
            <a:ext cx="15734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9" name="Přímá spojnice 18">
            <a:extLst>
              <a:ext uri="{FF2B5EF4-FFF2-40B4-BE49-F238E27FC236}">
                <a16:creationId xmlns:a16="http://schemas.microsoft.com/office/drawing/2014/main" id="{76B85254-1A7D-488E-9830-3F99A7742F43}"/>
              </a:ext>
            </a:extLst>
          </p:cNvPr>
          <p:cNvCxnSpPr>
            <a:cxnSpLocks/>
          </p:cNvCxnSpPr>
          <p:nvPr/>
        </p:nvCxnSpPr>
        <p:spPr>
          <a:xfrm>
            <a:off x="1637215" y="1131746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7DE1342D-EB8B-4B07-AF76-9D71853830EC}"/>
              </a:ext>
            </a:extLst>
          </p:cNvPr>
          <p:cNvSpPr txBox="1"/>
          <p:nvPr/>
        </p:nvSpPr>
        <p:spPr>
          <a:xfrm>
            <a:off x="1931960" y="1201931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0</a:t>
            </a:r>
          </a:p>
        </p:txBody>
      </p: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E4706C2C-C343-4CD4-BC4A-ED6979CFCE85}"/>
              </a:ext>
            </a:extLst>
          </p:cNvPr>
          <p:cNvCxnSpPr>
            <a:cxnSpLocks/>
          </p:cNvCxnSpPr>
          <p:nvPr/>
        </p:nvCxnSpPr>
        <p:spPr>
          <a:xfrm>
            <a:off x="1637215" y="1355053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24">
            <a:extLst>
              <a:ext uri="{FF2B5EF4-FFF2-40B4-BE49-F238E27FC236}">
                <a16:creationId xmlns:a16="http://schemas.microsoft.com/office/drawing/2014/main" id="{E453CAE8-274D-40EB-837F-1DFE06B3FC2E}"/>
              </a:ext>
            </a:extLst>
          </p:cNvPr>
          <p:cNvCxnSpPr>
            <a:cxnSpLocks/>
          </p:cNvCxnSpPr>
          <p:nvPr/>
        </p:nvCxnSpPr>
        <p:spPr>
          <a:xfrm>
            <a:off x="1637215" y="1583552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66CCB7E5-B893-4905-A783-B3A264BEFB90}"/>
              </a:ext>
            </a:extLst>
          </p:cNvPr>
          <p:cNvSpPr txBox="1"/>
          <p:nvPr/>
        </p:nvSpPr>
        <p:spPr>
          <a:xfrm>
            <a:off x="9546722" y="2199307"/>
            <a:ext cx="1945049" cy="100027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b="1" dirty="0">
                <a:solidFill>
                  <a:prstClr val="black"/>
                </a:solidFill>
                <a:latin typeface="Calibri" panose="020F0502020204030204"/>
              </a:rPr>
              <a:t>18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7. 2021</a:t>
            </a:r>
          </a:p>
          <a:p>
            <a:pPr lvl="0" algn="r"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7denní </a:t>
            </a:r>
            <a:r>
              <a:rPr lang="cs-CZ" sz="1100" dirty="0" err="1">
                <a:solidFill>
                  <a:prstClr val="black"/>
                </a:solidFill>
                <a:latin typeface="Calibri" panose="020F0502020204030204"/>
              </a:rPr>
              <a:t>kum</a:t>
            </a: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. počet na 100 tis.)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78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17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4 na 100 tisíc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266137AA-9182-40A3-A142-5179882050AD}"/>
              </a:ext>
            </a:extLst>
          </p:cNvPr>
          <p:cNvSpPr txBox="1"/>
          <p:nvPr/>
        </p:nvSpPr>
        <p:spPr>
          <a:xfrm>
            <a:off x="1924103" y="1434256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70</a:t>
            </a:r>
          </a:p>
          <a:p>
            <a:pPr lvl="0"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scénáře ze dne 1. 6. 2021, R aplikováno od 24. 5. 2021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E32A18E1-478B-49B3-B19F-744DF92D3F6C}"/>
              </a:ext>
            </a:extLst>
          </p:cNvPr>
          <p:cNvSpPr txBox="1"/>
          <p:nvPr/>
        </p:nvSpPr>
        <p:spPr>
          <a:xfrm>
            <a:off x="7273125" y="2199307"/>
            <a:ext cx="1945048" cy="100027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b="1" dirty="0">
                <a:solidFill>
                  <a:prstClr val="black"/>
                </a:solidFill>
                <a:latin typeface="Calibri" panose="020F0502020204030204"/>
              </a:rPr>
              <a:t>30. 6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2021 </a:t>
            </a:r>
            <a:b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7denní </a:t>
            </a:r>
            <a:r>
              <a:rPr lang="cs-CZ" sz="1100" dirty="0" err="1">
                <a:solidFill>
                  <a:prstClr val="black"/>
                </a:solidFill>
                <a:latin typeface="Calibri" panose="020F0502020204030204"/>
              </a:rPr>
              <a:t>kum</a:t>
            </a: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. počet na 100 tis.)</a:t>
            </a:r>
            <a:endParaRPr kumimoji="0" lang="cs-CZ" sz="12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55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21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7 na 100 tisíc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30" name="TextBox 6">
            <a:extLst>
              <a:ext uri="{FF2B5EF4-FFF2-40B4-BE49-F238E27FC236}">
                <a16:creationId xmlns:a16="http://schemas.microsoft.com/office/drawing/2014/main" id="{8B058FAD-246D-4FB5-9A38-9461A45D5931}"/>
              </a:ext>
            </a:extLst>
          </p:cNvPr>
          <p:cNvSpPr txBox="1"/>
          <p:nvPr/>
        </p:nvSpPr>
        <p:spPr>
          <a:xfrm rot="16200000">
            <a:off x="-1483263" y="3360473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2AE1522-C017-42C8-A5BD-E7F3E887F3AA}"/>
              </a:ext>
            </a:extLst>
          </p:cNvPr>
          <p:cNvSpPr txBox="1"/>
          <p:nvPr/>
        </p:nvSpPr>
        <p:spPr>
          <a:xfrm>
            <a:off x="7780712" y="1826572"/>
            <a:ext cx="29732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i="1" dirty="0"/>
              <a:t>Predikované hodnoty </a:t>
            </a:r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C2CDA8BD-006D-42A8-BA88-064DA323F845}"/>
              </a:ext>
            </a:extLst>
          </p:cNvPr>
          <p:cNvSpPr txBox="1"/>
          <p:nvPr/>
        </p:nvSpPr>
        <p:spPr>
          <a:xfrm>
            <a:off x="11558187" y="3553360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00" b="1" dirty="0">
                <a:latin typeface="Calibri" panose="020F0502020204030204" pitchFamily="34" charset="0"/>
                <a:cs typeface="Calibri" panose="020F0502020204030204" pitchFamily="34" charset="0"/>
              </a:rPr>
              <a:t>100</a:t>
            </a:r>
          </a:p>
          <a:p>
            <a:r>
              <a:rPr lang="cs-CZ" sz="800" dirty="0">
                <a:latin typeface="Calibri" panose="020F0502020204030204" pitchFamily="34" charset="0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5B77FD62-F375-40BF-A635-0F86D4274581}"/>
              </a:ext>
            </a:extLst>
          </p:cNvPr>
          <p:cNvSpPr txBox="1"/>
          <p:nvPr/>
        </p:nvSpPr>
        <p:spPr>
          <a:xfrm>
            <a:off x="11577452" y="4621660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00" b="1" dirty="0">
                <a:latin typeface="Calibri" panose="020F0502020204030204" pitchFamily="34" charset="0"/>
                <a:cs typeface="Calibri" panose="020F0502020204030204" pitchFamily="34" charset="0"/>
              </a:rPr>
              <a:t>50</a:t>
            </a:r>
          </a:p>
          <a:p>
            <a:r>
              <a:rPr lang="cs-CZ" sz="800" dirty="0">
                <a:latin typeface="Calibri" panose="020F0502020204030204" pitchFamily="34" charset="0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31" name="Nadpis 1">
            <a:extLst>
              <a:ext uri="{FF2B5EF4-FFF2-40B4-BE49-F238E27FC236}">
                <a16:creationId xmlns:a16="http://schemas.microsoft.com/office/drawing/2014/main" id="{CFCC2C02-F284-4941-91C6-5CC2566B6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en-US" sz="1800" dirty="0" err="1">
                <a:latin typeface="+mj-lt"/>
              </a:rPr>
              <a:t>Modelov</a:t>
            </a:r>
            <a:r>
              <a:rPr lang="cs-CZ" sz="1800" dirty="0">
                <a:latin typeface="+mj-lt"/>
              </a:rPr>
              <a:t>é scénáře: 7denní hodnoty na 100 tisíc obyvatel:</a:t>
            </a:r>
            <a:br>
              <a:rPr lang="cs-CZ" sz="1800" dirty="0">
                <a:latin typeface="+mj-lt"/>
              </a:rPr>
            </a:br>
            <a:r>
              <a:rPr lang="cs-CZ" sz="1800" dirty="0"/>
              <a:t>Liberecký kraj</a:t>
            </a:r>
            <a:endParaRPr lang="cs-CZ" sz="1800" dirty="0">
              <a:latin typeface="+mj-lt"/>
            </a:endParaRPr>
          </a:p>
        </p:txBody>
      </p: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EE744899-4831-4573-9408-495F16CA9A16}"/>
              </a:ext>
            </a:extLst>
          </p:cNvPr>
          <p:cNvSpPr txBox="1"/>
          <p:nvPr/>
        </p:nvSpPr>
        <p:spPr>
          <a:xfrm>
            <a:off x="228000" y="6456056"/>
            <a:ext cx="1173470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100" dirty="0">
                <a:solidFill>
                  <a:schemeClr val="accent1"/>
                </a:solidFill>
              </a:rPr>
              <a:t>Hodnota celorepublikového modelu byla lokalizovaná do příslušného kraje se zohledněním trendu nárůstu ve dnech 24. 5. až 31. 5.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904EFF0C-23FB-42AD-AEDA-D4E2F71D7EAF}"/>
              </a:ext>
            </a:extLst>
          </p:cNvPr>
          <p:cNvGrpSpPr/>
          <p:nvPr/>
        </p:nvGrpSpPr>
        <p:grpSpPr>
          <a:xfrm>
            <a:off x="11213431" y="654465"/>
            <a:ext cx="885789" cy="249232"/>
            <a:chOff x="12375318" y="2890002"/>
            <a:chExt cx="1689602" cy="475399"/>
          </a:xfrm>
        </p:grpSpPr>
        <p:pic>
          <p:nvPicPr>
            <p:cNvPr id="33" name="Obrázek 32">
              <a:extLst>
                <a:ext uri="{FF2B5EF4-FFF2-40B4-BE49-F238E27FC236}">
                  <a16:creationId xmlns:a16="http://schemas.microsoft.com/office/drawing/2014/main" id="{72BD359C-46FF-4AE5-B2AC-A55CC70B6C9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2375318" y="2926201"/>
              <a:ext cx="364634" cy="439200"/>
            </a:xfrm>
            <a:prstGeom prst="rect">
              <a:avLst/>
            </a:prstGeom>
          </p:spPr>
        </p:pic>
        <p:pic>
          <p:nvPicPr>
            <p:cNvPr id="34" name="Obrázek 33">
              <a:extLst>
                <a:ext uri="{FF2B5EF4-FFF2-40B4-BE49-F238E27FC236}">
                  <a16:creationId xmlns:a16="http://schemas.microsoft.com/office/drawing/2014/main" id="{E0A22C9F-3AA6-457E-A4B4-E3CA746D88E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6842" t="32400" r="5593" b="32385"/>
            <a:stretch/>
          </p:blipFill>
          <p:spPr>
            <a:xfrm>
              <a:off x="12882808" y="2890002"/>
              <a:ext cx="1182112" cy="475399"/>
            </a:xfrm>
            <a:prstGeom prst="rect">
              <a:avLst/>
            </a:prstGeom>
          </p:spPr>
        </p:pic>
      </p:grp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162654F9-5E36-486C-97BC-204FD14A2CA2}"/>
              </a:ext>
            </a:extLst>
          </p:cNvPr>
          <p:cNvSpPr txBox="1"/>
          <p:nvPr/>
        </p:nvSpPr>
        <p:spPr>
          <a:xfrm>
            <a:off x="5470252" y="1231063"/>
            <a:ext cx="194504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pl-PL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 uzavřenému dni 27. 6. 2021</a:t>
            </a: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90868746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B1276870-99EE-4D94-8977-D4A2442A6BF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55156170"/>
              </p:ext>
            </p:extLst>
          </p:nvPr>
        </p:nvGraphicFramePr>
        <p:xfrm>
          <a:off x="556549" y="3273786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399F9D63-C378-4018-B97A-C6FF1B38BBF2}"/>
              </a:ext>
            </a:extLst>
          </p:cNvPr>
          <p:cNvSpPr txBox="1"/>
          <p:nvPr/>
        </p:nvSpPr>
        <p:spPr>
          <a:xfrm>
            <a:off x="214075" y="1050497"/>
            <a:ext cx="38671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 dle hodnoty reprodukčního čísla 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69B8FCCD-AB42-495D-8900-E0EDAF4D3695}"/>
              </a:ext>
            </a:extLst>
          </p:cNvPr>
          <p:cNvSpPr txBox="1"/>
          <p:nvPr/>
        </p:nvSpPr>
        <p:spPr>
          <a:xfrm>
            <a:off x="4792918" y="638978"/>
            <a:ext cx="5031486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vý scénář (R = 1,10)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915432FB-02C6-4A48-823E-AAFFD38F04CD}"/>
              </a:ext>
            </a:extLst>
          </p:cNvPr>
          <p:cNvSpPr txBox="1"/>
          <p:nvPr/>
        </p:nvSpPr>
        <p:spPr>
          <a:xfrm>
            <a:off x="4792918" y="1947883"/>
            <a:ext cx="5031486" cy="369332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zpomalení (R = 0,70)</a:t>
            </a:r>
          </a:p>
        </p:txBody>
      </p:sp>
      <p:cxnSp>
        <p:nvCxnSpPr>
          <p:cNvPr id="10" name="Přímá spojnice se šipkou 9">
            <a:extLst>
              <a:ext uri="{FF2B5EF4-FFF2-40B4-BE49-F238E27FC236}">
                <a16:creationId xmlns:a16="http://schemas.microsoft.com/office/drawing/2014/main" id="{2FBBF0DE-751C-4A8D-9688-745F518DEA63}"/>
              </a:ext>
            </a:extLst>
          </p:cNvPr>
          <p:cNvCxnSpPr/>
          <p:nvPr/>
        </p:nvCxnSpPr>
        <p:spPr>
          <a:xfrm flipV="1">
            <a:off x="4154743" y="864532"/>
            <a:ext cx="523875" cy="56949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Přímá spojnice se šipkou 10">
            <a:extLst>
              <a:ext uri="{FF2B5EF4-FFF2-40B4-BE49-F238E27FC236}">
                <a16:creationId xmlns:a16="http://schemas.microsoft.com/office/drawing/2014/main" id="{427BD7B2-178E-45A0-B634-921C0C8A629F}"/>
              </a:ext>
            </a:extLst>
          </p:cNvPr>
          <p:cNvCxnSpPr/>
          <p:nvPr/>
        </p:nvCxnSpPr>
        <p:spPr>
          <a:xfrm>
            <a:off x="4154743" y="1503447"/>
            <a:ext cx="523875" cy="64073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6">
            <a:extLst>
              <a:ext uri="{FF2B5EF4-FFF2-40B4-BE49-F238E27FC236}">
                <a16:creationId xmlns:a16="http://schemas.microsoft.com/office/drawing/2014/main" id="{69CEF138-18A8-4271-9FEF-402DB7C25B86}"/>
              </a:ext>
            </a:extLst>
          </p:cNvPr>
          <p:cNvSpPr txBox="1"/>
          <p:nvPr/>
        </p:nvSpPr>
        <p:spPr>
          <a:xfrm>
            <a:off x="489851" y="2893021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D297EC6B-32AF-493A-B2A7-B285C8CEF178}"/>
              </a:ext>
            </a:extLst>
          </p:cNvPr>
          <p:cNvSpPr txBox="1"/>
          <p:nvPr/>
        </p:nvSpPr>
        <p:spPr>
          <a:xfrm>
            <a:off x="4475378" y="2789253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10</a:t>
            </a: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3C9B186B-8163-428B-A364-E90D3144B57D}"/>
              </a:ext>
            </a:extLst>
          </p:cNvPr>
          <p:cNvSpPr/>
          <p:nvPr/>
        </p:nvSpPr>
        <p:spPr>
          <a:xfrm>
            <a:off x="7952761" y="2841929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35669B2F-D612-4664-B709-53D98132D57A}"/>
              </a:ext>
            </a:extLst>
          </p:cNvPr>
          <p:cNvSpPr txBox="1"/>
          <p:nvPr/>
        </p:nvSpPr>
        <p:spPr>
          <a:xfrm>
            <a:off x="8249942" y="2790122"/>
            <a:ext cx="15734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9" name="Přímá spojnice 18">
            <a:extLst>
              <a:ext uri="{FF2B5EF4-FFF2-40B4-BE49-F238E27FC236}">
                <a16:creationId xmlns:a16="http://schemas.microsoft.com/office/drawing/2014/main" id="{76B85254-1A7D-488E-9830-3F99A7742F43}"/>
              </a:ext>
            </a:extLst>
          </p:cNvPr>
          <p:cNvCxnSpPr>
            <a:cxnSpLocks/>
          </p:cNvCxnSpPr>
          <p:nvPr/>
        </p:nvCxnSpPr>
        <p:spPr>
          <a:xfrm>
            <a:off x="4180633" y="2944288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7DE1342D-EB8B-4B07-AF76-9D71853830EC}"/>
              </a:ext>
            </a:extLst>
          </p:cNvPr>
          <p:cNvSpPr txBox="1"/>
          <p:nvPr/>
        </p:nvSpPr>
        <p:spPr>
          <a:xfrm>
            <a:off x="4475378" y="3014473"/>
            <a:ext cx="313540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0	</a:t>
            </a:r>
          </a:p>
        </p:txBody>
      </p: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E4706C2C-C343-4CD4-BC4A-ED6979CFCE85}"/>
              </a:ext>
            </a:extLst>
          </p:cNvPr>
          <p:cNvCxnSpPr>
            <a:cxnSpLocks/>
          </p:cNvCxnSpPr>
          <p:nvPr/>
        </p:nvCxnSpPr>
        <p:spPr>
          <a:xfrm>
            <a:off x="4180633" y="3167595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24">
            <a:extLst>
              <a:ext uri="{FF2B5EF4-FFF2-40B4-BE49-F238E27FC236}">
                <a16:creationId xmlns:a16="http://schemas.microsoft.com/office/drawing/2014/main" id="{E453CAE8-274D-40EB-837F-1DFE06B3FC2E}"/>
              </a:ext>
            </a:extLst>
          </p:cNvPr>
          <p:cNvCxnSpPr>
            <a:cxnSpLocks/>
          </p:cNvCxnSpPr>
          <p:nvPr/>
        </p:nvCxnSpPr>
        <p:spPr>
          <a:xfrm>
            <a:off x="4180633" y="3387705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66CCB7E5-B893-4905-A783-B3A264BEFB90}"/>
              </a:ext>
            </a:extLst>
          </p:cNvPr>
          <p:cNvSpPr txBox="1"/>
          <p:nvPr/>
        </p:nvSpPr>
        <p:spPr>
          <a:xfrm>
            <a:off x="10091064" y="3879119"/>
            <a:ext cx="1544387" cy="83099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8. </a:t>
            </a:r>
            <a:r>
              <a:rPr lang="cs-CZ" sz="1200" b="1" dirty="0">
                <a:solidFill>
                  <a:prstClr val="black"/>
                </a:solidFill>
                <a:latin typeface="Calibri" panose="020F0502020204030204"/>
              </a:rPr>
              <a:t>7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2021</a:t>
            </a: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20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4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1 predikovaných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266137AA-9182-40A3-A142-5179882050AD}"/>
              </a:ext>
            </a:extLst>
          </p:cNvPr>
          <p:cNvSpPr txBox="1"/>
          <p:nvPr/>
        </p:nvSpPr>
        <p:spPr>
          <a:xfrm>
            <a:off x="4467521" y="3238409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7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</a:t>
            </a: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6. 2021, R aplikováno od 24. 5. 2021)</a:t>
            </a: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E32A18E1-478B-49B3-B19F-744DF92D3F6C}"/>
              </a:ext>
            </a:extLst>
          </p:cNvPr>
          <p:cNvSpPr txBox="1"/>
          <p:nvPr/>
        </p:nvSpPr>
        <p:spPr>
          <a:xfrm>
            <a:off x="7780712" y="4294618"/>
            <a:ext cx="1544387" cy="83099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b="1" dirty="0">
                <a:solidFill>
                  <a:prstClr val="black"/>
                </a:solidFill>
                <a:latin typeface="Calibri" panose="020F0502020204030204"/>
              </a:rPr>
              <a:t>30. 6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2021</a:t>
            </a: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14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5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2 predikovaných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22" name="Nadpis 1">
            <a:extLst>
              <a:ext uri="{FF2B5EF4-FFF2-40B4-BE49-F238E27FC236}">
                <a16:creationId xmlns:a16="http://schemas.microsoft.com/office/drawing/2014/main" id="{6518D429-51CE-40C1-89F9-ADE1A20304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ce ve třech scénářích: </a:t>
            </a:r>
            <a:r>
              <a:rPr lang="cs-CZ" dirty="0"/>
              <a:t>Královehradecký</a:t>
            </a:r>
            <a:r>
              <a:rPr lang="cs-CZ" dirty="0">
                <a:latin typeface="+mj-lt"/>
              </a:rPr>
              <a:t> kraj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2BFD197E-F2C5-4B7D-B7BD-52FB0F4EF96B}"/>
              </a:ext>
            </a:extLst>
          </p:cNvPr>
          <p:cNvGrpSpPr/>
          <p:nvPr/>
        </p:nvGrpSpPr>
        <p:grpSpPr>
          <a:xfrm>
            <a:off x="11136428" y="657628"/>
            <a:ext cx="969271" cy="298637"/>
            <a:chOff x="12375318" y="0"/>
            <a:chExt cx="1580446" cy="486943"/>
          </a:xfrm>
        </p:grpSpPr>
        <p:pic>
          <p:nvPicPr>
            <p:cNvPr id="30" name="Obrázek 29">
              <a:extLst>
                <a:ext uri="{FF2B5EF4-FFF2-40B4-BE49-F238E27FC236}">
                  <a16:creationId xmlns:a16="http://schemas.microsoft.com/office/drawing/2014/main" id="{7E01F0A6-C4DC-4FF9-9B0D-9C156F25A0E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375318" y="17690"/>
              <a:ext cx="367200" cy="411266"/>
            </a:xfrm>
            <a:prstGeom prst="rect">
              <a:avLst/>
            </a:prstGeom>
          </p:spPr>
        </p:pic>
        <p:pic>
          <p:nvPicPr>
            <p:cNvPr id="31" name="Obrázek 30">
              <a:extLst>
                <a:ext uri="{FF2B5EF4-FFF2-40B4-BE49-F238E27FC236}">
                  <a16:creationId xmlns:a16="http://schemas.microsoft.com/office/drawing/2014/main" id="{330152D4-3604-4139-9F59-BD82B1CBCD0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855762" y="0"/>
              <a:ext cx="1100002" cy="486943"/>
            </a:xfrm>
            <a:prstGeom prst="rect">
              <a:avLst/>
            </a:prstGeom>
          </p:spPr>
        </p:pic>
      </p:grp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5D78FA31-AB5D-4402-A787-B5F03E725814}"/>
              </a:ext>
            </a:extLst>
          </p:cNvPr>
          <p:cNvSpPr txBox="1"/>
          <p:nvPr/>
        </p:nvSpPr>
        <p:spPr>
          <a:xfrm>
            <a:off x="8249942" y="3001602"/>
            <a:ext cx="194504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pl-PL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 uzavřenému dni 27. 6. 2021</a:t>
            </a: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65909378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ulka 9">
            <a:extLst>
              <a:ext uri="{FF2B5EF4-FFF2-40B4-BE49-F238E27FC236}">
                <a16:creationId xmlns:a16="http://schemas.microsoft.com/office/drawing/2014/main" id="{2CDF3C9D-B366-482C-9DEE-848BF9D72A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38486541"/>
              </p:ext>
            </p:extLst>
          </p:nvPr>
        </p:nvGraphicFramePr>
        <p:xfrm>
          <a:off x="45720" y="1318054"/>
          <a:ext cx="12108951" cy="5019468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18422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3468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93810515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272550134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889585356"/>
                    </a:ext>
                  </a:extLst>
                </a:gridCol>
                <a:gridCol w="1116000">
                  <a:extLst>
                    <a:ext uri="{9D8B030D-6E8A-4147-A177-3AD203B41FA5}">
                      <a16:colId xmlns:a16="http://schemas.microsoft.com/office/drawing/2014/main" val="3083214646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487868241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891010204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340384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264344487"/>
                    </a:ext>
                  </a:extLst>
                </a:gridCol>
                <a:gridCol w="1008000">
                  <a:extLst>
                    <a:ext uri="{9D8B030D-6E8A-4147-A177-3AD203B41FA5}">
                      <a16:colId xmlns:a16="http://schemas.microsoft.com/office/drawing/2014/main" val="13148050"/>
                    </a:ext>
                  </a:extLst>
                </a:gridCol>
                <a:gridCol w="1008000">
                  <a:extLst>
                    <a:ext uri="{9D8B030D-6E8A-4147-A177-3AD203B41FA5}">
                      <a16:colId xmlns:a16="http://schemas.microsoft.com/office/drawing/2014/main" val="1091220691"/>
                    </a:ext>
                  </a:extLst>
                </a:gridCol>
              </a:tblGrid>
              <a:tr h="822960">
                <a:tc>
                  <a:txBody>
                    <a:bodyPr/>
                    <a:lstStyle/>
                    <a:p>
                      <a:pPr algn="l"/>
                      <a:endParaRPr lang="cs-CZ" sz="16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cs-CZ" sz="1600" u="sng" dirty="0"/>
                        <a:t>Predikovaný celkový počet</a:t>
                      </a:r>
                      <a:r>
                        <a:rPr lang="cs-CZ" sz="1600" u="none" dirty="0"/>
                        <a:t> </a:t>
                      </a:r>
                      <a:br>
                        <a:rPr lang="cs-CZ" sz="1600" u="none" dirty="0"/>
                      </a:br>
                      <a:r>
                        <a:rPr lang="cs-CZ" sz="1600" u="none" dirty="0"/>
                        <a:t>N</a:t>
                      </a:r>
                      <a:r>
                        <a:rPr lang="cs-CZ" sz="1600" dirty="0"/>
                        <a:t>ově prokázané nákazy COVID-19</a:t>
                      </a:r>
                      <a:endParaRPr lang="cs-CZ" sz="1600" b="1" dirty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alita: naměřené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odnot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u="sng" dirty="0"/>
                        <a:t>Predikovaný průměrný denní počet</a:t>
                      </a:r>
                      <a:r>
                        <a:rPr lang="cs-CZ" sz="1600" dirty="0"/>
                        <a:t> Nově prokázané nákazy COVID-19</a:t>
                      </a:r>
                      <a:endParaRPr lang="cs-CZ" sz="16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600" b="1" dirty="0"/>
                        <a:t>Realita: naměřené</a:t>
                      </a:r>
                    </a:p>
                    <a:p>
                      <a:pPr algn="ctr"/>
                      <a:r>
                        <a:rPr lang="cs-CZ" sz="1600" b="1" dirty="0"/>
                        <a:t>hodnoty</a:t>
                      </a:r>
                      <a:endParaRPr lang="en-US" sz="16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16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87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odnota R</a:t>
                      </a:r>
                      <a:br>
                        <a:rPr lang="cs-CZ" sz="16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od 24</a:t>
                      </a:r>
                      <a:r>
                        <a:rPr lang="en-US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r>
                        <a:rPr lang="cs-CZ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5.)</a:t>
                      </a:r>
                      <a:endParaRPr lang="cs-CZ" sz="16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7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8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9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,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</a:t>
                      </a:r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FF"/>
                        </a:highlight>
                        <a:latin typeface="+mj-lt"/>
                      </a:endParaRP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7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8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9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,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</a:t>
                      </a:r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FF"/>
                        </a:highlight>
                        <a:latin typeface="+mj-lt"/>
                      </a:endParaRP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highlight>
                            <a:srgbClr val="FFFFFF"/>
                          </a:highlight>
                        </a:rPr>
                        <a:t>denní průměr včetně víkendů</a:t>
                      </a:r>
                      <a:endParaRPr lang="en-US" sz="1200" dirty="0">
                        <a:highlight>
                          <a:srgbClr val="FFFFFF"/>
                        </a:highlight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highlight>
                            <a:srgbClr val="FFFFFF"/>
                          </a:highlight>
                        </a:rPr>
                        <a:t>denní průměr v pracovních dnech</a:t>
                      </a:r>
                      <a:endParaRPr lang="cs-CZ" sz="1200" dirty="0">
                        <a:highlight>
                          <a:srgbClr val="FFFFFF"/>
                        </a:highlight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8491739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indent="0" algn="l" fontAlgn="b"/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  <a:r>
                        <a:rPr lang="cs-CZ" sz="1450" b="1" u="none" strike="noStrike" dirty="0">
                          <a:effectLst/>
                        </a:rPr>
                        <a:t>.–13. 6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6621032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50" u="none" strike="noStrike" dirty="0">
                          <a:effectLst/>
                        </a:rPr>
                        <a:t>Období </a:t>
                      </a:r>
                      <a:r>
                        <a:rPr lang="cs-CZ" sz="1450" b="1" u="none" strike="noStrike" dirty="0">
                          <a:effectLst/>
                        </a:rPr>
                        <a:t>14.–20. 6.</a:t>
                      </a:r>
                      <a:endParaRPr lang="cs-CZ" sz="14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62736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1</a:t>
                      </a:r>
                      <a:r>
                        <a:rPr lang="cs-CZ" sz="1450" b="1" u="none" strike="noStrike" dirty="0">
                          <a:effectLst/>
                        </a:rPr>
                        <a:t>.–27. 6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3466947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indent="0" algn="l" fontAlgn="b"/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8. 6.</a:t>
                      </a:r>
                      <a:r>
                        <a:rPr lang="cs-CZ" sz="1450" b="1" u="none" strike="noStrike" dirty="0">
                          <a:effectLst/>
                        </a:rPr>
                        <a:t>–4. 7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1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7246171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.</a:t>
                      </a:r>
                      <a:r>
                        <a:rPr lang="cs-CZ" sz="1450" b="1" u="none" strike="noStrike" dirty="0">
                          <a:effectLst/>
                        </a:rPr>
                        <a:t>–11. 7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1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 tisíce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9339872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.</a:t>
                      </a:r>
                      <a:r>
                        <a:rPr lang="cs-CZ" sz="1450" b="1" u="none" strike="noStrike" dirty="0">
                          <a:effectLst/>
                        </a:rPr>
                        <a:t>–18. 7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10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 tisíce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651041"/>
                  </a:ext>
                </a:extLst>
              </a:tr>
            </a:tbl>
          </a:graphicData>
        </a:graphic>
      </p:graphicFrame>
      <p:sp>
        <p:nvSpPr>
          <p:cNvPr id="9" name="TextovéPole 8">
            <a:extLst>
              <a:ext uri="{FF2B5EF4-FFF2-40B4-BE49-F238E27FC236}">
                <a16:creationId xmlns:a16="http://schemas.microsoft.com/office/drawing/2014/main" id="{E4A0DC13-0AB7-42C0-B44A-C8095E8723E9}"/>
              </a:ext>
            </a:extLst>
          </p:cNvPr>
          <p:cNvSpPr txBox="1"/>
          <p:nvPr/>
        </p:nvSpPr>
        <p:spPr>
          <a:xfrm>
            <a:off x="45720" y="6388483"/>
            <a:ext cx="12090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200" dirty="0">
                <a:solidFill>
                  <a:schemeClr val="accent1"/>
                </a:solidFill>
              </a:rPr>
              <a:t>Predikované počty odpovídají modelovaným hodnotám (kalibrovaným na hodnoty pozorované v pracovních dnech), naměřené hodnoty zahrnují všechny počty hlášené do databáze, včetně potenciálně nižších záchytů nemoci v nepracovních dnech. V případě denního průměrného počtu jsou uvedeny i hodnoty, které zahrnují pouze pracovní dny.</a:t>
            </a:r>
          </a:p>
        </p:txBody>
      </p:sp>
      <p:sp>
        <p:nvSpPr>
          <p:cNvPr id="8" name="Nadpis 1">
            <a:extLst>
              <a:ext uri="{FF2B5EF4-FFF2-40B4-BE49-F238E27FC236}">
                <a16:creationId xmlns:a16="http://schemas.microsoft.com/office/drawing/2014/main" id="{DBBDF33E-D7ED-4B93-A481-745FE41008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558611" cy="576000"/>
          </a:xfrm>
        </p:spPr>
        <p:txBody>
          <a:bodyPr/>
          <a:lstStyle/>
          <a:p>
            <a:r>
              <a:rPr lang="cs-CZ" dirty="0" err="1"/>
              <a:t>Rekalibrace</a:t>
            </a:r>
            <a:r>
              <a:rPr lang="cs-CZ" dirty="0"/>
              <a:t> prediktivního modelu pro </a:t>
            </a:r>
            <a:r>
              <a:rPr lang="cs-CZ" u="sng" dirty="0"/>
              <a:t>nové scénáře</a:t>
            </a:r>
            <a:r>
              <a:rPr lang="cs-CZ" dirty="0"/>
              <a:t>: </a:t>
            </a:r>
            <a:br>
              <a:rPr lang="cs-CZ" dirty="0"/>
            </a:br>
            <a:r>
              <a:rPr lang="cs-CZ" dirty="0"/>
              <a:t>Královehradecký kraj</a:t>
            </a:r>
          </a:p>
        </p:txBody>
      </p:sp>
      <p:grpSp>
        <p:nvGrpSpPr>
          <p:cNvPr id="6" name="Skupina 5">
            <a:extLst>
              <a:ext uri="{FF2B5EF4-FFF2-40B4-BE49-F238E27FC236}">
                <a16:creationId xmlns:a16="http://schemas.microsoft.com/office/drawing/2014/main" id="{0BC5A27D-19C7-4CEE-9938-F1AEF2DB6931}"/>
              </a:ext>
            </a:extLst>
          </p:cNvPr>
          <p:cNvGrpSpPr/>
          <p:nvPr/>
        </p:nvGrpSpPr>
        <p:grpSpPr>
          <a:xfrm>
            <a:off x="11136428" y="942438"/>
            <a:ext cx="969271" cy="298637"/>
            <a:chOff x="12375318" y="0"/>
            <a:chExt cx="1580446" cy="486943"/>
          </a:xfrm>
        </p:grpSpPr>
        <p:pic>
          <p:nvPicPr>
            <p:cNvPr id="7" name="Obrázek 6">
              <a:extLst>
                <a:ext uri="{FF2B5EF4-FFF2-40B4-BE49-F238E27FC236}">
                  <a16:creationId xmlns:a16="http://schemas.microsoft.com/office/drawing/2014/main" id="{F2F554DF-CFF4-4D28-9B9C-42D21FB208F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375318" y="17690"/>
              <a:ext cx="367200" cy="411266"/>
            </a:xfrm>
            <a:prstGeom prst="rect">
              <a:avLst/>
            </a:prstGeom>
          </p:spPr>
        </p:pic>
        <p:pic>
          <p:nvPicPr>
            <p:cNvPr id="11" name="Obrázek 10">
              <a:extLst>
                <a:ext uri="{FF2B5EF4-FFF2-40B4-BE49-F238E27FC236}">
                  <a16:creationId xmlns:a16="http://schemas.microsoft.com/office/drawing/2014/main" id="{0C1F0F0B-9A5D-4C8E-97F2-C1D57B59DF7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855762" y="0"/>
              <a:ext cx="1100002" cy="486943"/>
            </a:xfrm>
            <a:prstGeom prst="rect">
              <a:avLst/>
            </a:prstGeom>
          </p:spPr>
        </p:pic>
      </p:grp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83E739FA-B11C-4024-9F44-5CCF32FB5FBF}"/>
              </a:ext>
            </a:extLst>
          </p:cNvPr>
          <p:cNvSpPr txBox="1"/>
          <p:nvPr/>
        </p:nvSpPr>
        <p:spPr>
          <a:xfrm>
            <a:off x="0" y="576002"/>
            <a:ext cx="1231394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600" b="1" dirty="0">
                <a:solidFill>
                  <a:srgbClr val="000000"/>
                </a:solidFill>
              </a:rPr>
              <a:t>Epidemické křivky vytvořeny pomocí modelu pro krátkodobé predikce ÚZIS ČR, </a:t>
            </a:r>
            <a:r>
              <a:rPr lang="pl-PL" sz="1600" b="1" u="sng" dirty="0">
                <a:solidFill>
                  <a:srgbClr val="000000"/>
                </a:solidFill>
              </a:rPr>
              <a:t>predikce odpovídá údajům z 1. 6. 2021.</a:t>
            </a:r>
            <a:endParaRPr lang="cs-CZ" sz="1600" b="1" u="sng" dirty="0">
              <a:solidFill>
                <a:srgbClr val="000000"/>
              </a:solidFill>
            </a:endParaRPr>
          </a:p>
          <a:p>
            <a:pPr lvl="0">
              <a:defRPr/>
            </a:pPr>
            <a:r>
              <a:rPr lang="cs-CZ" sz="1200" b="1" dirty="0">
                <a:solidFill>
                  <a:srgbClr val="000000"/>
                </a:solidFill>
              </a:rPr>
              <a:t>Hodnota celorepublikového modelu byla lokalizovaná do příslušného kraje se zohledněním trendu nárůstu ve </a:t>
            </a:r>
            <a:r>
              <a:rPr lang="pl-PL" sz="1200" b="1" dirty="0">
                <a:solidFill>
                  <a:srgbClr val="000000"/>
                </a:solidFill>
              </a:rPr>
              <a:t>dnech 24. 5. až 31. 5.</a:t>
            </a:r>
          </a:p>
          <a:p>
            <a:pPr lvl="0">
              <a:defRPr/>
            </a:pPr>
            <a:r>
              <a:rPr lang="cs-CZ" sz="1200" b="1" dirty="0">
                <a:solidFill>
                  <a:srgbClr val="000000"/>
                </a:solidFill>
              </a:rPr>
              <a:t>Naměřené hodnoty jsou aktuální </a:t>
            </a:r>
            <a:r>
              <a:rPr lang="pl-PL" sz="1200" b="1" dirty="0">
                <a:solidFill>
                  <a:srgbClr val="000000"/>
                </a:solidFill>
              </a:rPr>
              <a:t>k uzavřenému dni 27. 6. 2021</a:t>
            </a:r>
            <a:r>
              <a:rPr lang="cs-CZ" sz="1200" b="1" dirty="0">
                <a:solidFill>
                  <a:srgbClr val="000000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5409143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B1276870-99EE-4D94-8977-D4A2442A6BF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04577919"/>
              </p:ext>
            </p:extLst>
          </p:nvPr>
        </p:nvGraphicFramePr>
        <p:xfrm>
          <a:off x="556549" y="3273786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2400" dirty="0">
                <a:latin typeface="+mj-lt"/>
              </a:rPr>
              <a:t>Predikce ve třech scénářích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399F9D63-C378-4018-B97A-C6FF1B38BBF2}"/>
              </a:ext>
            </a:extLst>
          </p:cNvPr>
          <p:cNvSpPr txBox="1"/>
          <p:nvPr/>
        </p:nvSpPr>
        <p:spPr>
          <a:xfrm>
            <a:off x="214075" y="1050497"/>
            <a:ext cx="38671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 dle hodnoty reprodukčního čísla 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69B8FCCD-AB42-495D-8900-E0EDAF4D3695}"/>
              </a:ext>
            </a:extLst>
          </p:cNvPr>
          <p:cNvSpPr txBox="1"/>
          <p:nvPr/>
        </p:nvSpPr>
        <p:spPr>
          <a:xfrm>
            <a:off x="4792918" y="638978"/>
            <a:ext cx="5031486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vý scénář (R = 1,10)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915432FB-02C6-4A48-823E-AAFFD38F04CD}"/>
              </a:ext>
            </a:extLst>
          </p:cNvPr>
          <p:cNvSpPr txBox="1"/>
          <p:nvPr/>
        </p:nvSpPr>
        <p:spPr>
          <a:xfrm>
            <a:off x="4792918" y="1947883"/>
            <a:ext cx="5031486" cy="369332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zpomalení (R = 0,70)</a:t>
            </a:r>
          </a:p>
        </p:txBody>
      </p:sp>
      <p:cxnSp>
        <p:nvCxnSpPr>
          <p:cNvPr id="10" name="Přímá spojnice se šipkou 9">
            <a:extLst>
              <a:ext uri="{FF2B5EF4-FFF2-40B4-BE49-F238E27FC236}">
                <a16:creationId xmlns:a16="http://schemas.microsoft.com/office/drawing/2014/main" id="{2FBBF0DE-751C-4A8D-9688-745F518DEA63}"/>
              </a:ext>
            </a:extLst>
          </p:cNvPr>
          <p:cNvCxnSpPr/>
          <p:nvPr/>
        </p:nvCxnSpPr>
        <p:spPr>
          <a:xfrm flipV="1">
            <a:off x="4154743" y="864532"/>
            <a:ext cx="523875" cy="56949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Přímá spojnice se šipkou 10">
            <a:extLst>
              <a:ext uri="{FF2B5EF4-FFF2-40B4-BE49-F238E27FC236}">
                <a16:creationId xmlns:a16="http://schemas.microsoft.com/office/drawing/2014/main" id="{427BD7B2-178E-45A0-B634-921C0C8A629F}"/>
              </a:ext>
            </a:extLst>
          </p:cNvPr>
          <p:cNvCxnSpPr/>
          <p:nvPr/>
        </p:nvCxnSpPr>
        <p:spPr>
          <a:xfrm>
            <a:off x="4154743" y="1503447"/>
            <a:ext cx="523875" cy="64073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6">
            <a:extLst>
              <a:ext uri="{FF2B5EF4-FFF2-40B4-BE49-F238E27FC236}">
                <a16:creationId xmlns:a16="http://schemas.microsoft.com/office/drawing/2014/main" id="{69CEF138-18A8-4271-9FEF-402DB7C25B86}"/>
              </a:ext>
            </a:extLst>
          </p:cNvPr>
          <p:cNvSpPr txBox="1"/>
          <p:nvPr/>
        </p:nvSpPr>
        <p:spPr>
          <a:xfrm>
            <a:off x="489851" y="2893021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D297EC6B-32AF-493A-B2A7-B285C8CEF178}"/>
              </a:ext>
            </a:extLst>
          </p:cNvPr>
          <p:cNvSpPr txBox="1"/>
          <p:nvPr/>
        </p:nvSpPr>
        <p:spPr>
          <a:xfrm>
            <a:off x="4475378" y="2789253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10</a:t>
            </a: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3C9B186B-8163-428B-A364-E90D3144B57D}"/>
              </a:ext>
            </a:extLst>
          </p:cNvPr>
          <p:cNvSpPr/>
          <p:nvPr/>
        </p:nvSpPr>
        <p:spPr>
          <a:xfrm>
            <a:off x="7952761" y="2841929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35669B2F-D612-4664-B709-53D98132D57A}"/>
              </a:ext>
            </a:extLst>
          </p:cNvPr>
          <p:cNvSpPr txBox="1"/>
          <p:nvPr/>
        </p:nvSpPr>
        <p:spPr>
          <a:xfrm>
            <a:off x="8249942" y="2790122"/>
            <a:ext cx="15734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9" name="Přímá spojnice 18">
            <a:extLst>
              <a:ext uri="{FF2B5EF4-FFF2-40B4-BE49-F238E27FC236}">
                <a16:creationId xmlns:a16="http://schemas.microsoft.com/office/drawing/2014/main" id="{76B85254-1A7D-488E-9830-3F99A7742F43}"/>
              </a:ext>
            </a:extLst>
          </p:cNvPr>
          <p:cNvCxnSpPr>
            <a:cxnSpLocks/>
          </p:cNvCxnSpPr>
          <p:nvPr/>
        </p:nvCxnSpPr>
        <p:spPr>
          <a:xfrm>
            <a:off x="4180633" y="2944288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7DE1342D-EB8B-4B07-AF76-9D71853830EC}"/>
              </a:ext>
            </a:extLst>
          </p:cNvPr>
          <p:cNvSpPr txBox="1"/>
          <p:nvPr/>
        </p:nvSpPr>
        <p:spPr>
          <a:xfrm>
            <a:off x="4475378" y="3014473"/>
            <a:ext cx="313540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0	</a:t>
            </a:r>
          </a:p>
        </p:txBody>
      </p: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E4706C2C-C343-4CD4-BC4A-ED6979CFCE85}"/>
              </a:ext>
            </a:extLst>
          </p:cNvPr>
          <p:cNvCxnSpPr>
            <a:cxnSpLocks/>
          </p:cNvCxnSpPr>
          <p:nvPr/>
        </p:nvCxnSpPr>
        <p:spPr>
          <a:xfrm>
            <a:off x="4180633" y="3167595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24">
            <a:extLst>
              <a:ext uri="{FF2B5EF4-FFF2-40B4-BE49-F238E27FC236}">
                <a16:creationId xmlns:a16="http://schemas.microsoft.com/office/drawing/2014/main" id="{E453CAE8-274D-40EB-837F-1DFE06B3FC2E}"/>
              </a:ext>
            </a:extLst>
          </p:cNvPr>
          <p:cNvCxnSpPr>
            <a:cxnSpLocks/>
          </p:cNvCxnSpPr>
          <p:nvPr/>
        </p:nvCxnSpPr>
        <p:spPr>
          <a:xfrm>
            <a:off x="4180633" y="3387705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66CCB7E5-B893-4905-A783-B3A264BEFB90}"/>
              </a:ext>
            </a:extLst>
          </p:cNvPr>
          <p:cNvSpPr txBox="1"/>
          <p:nvPr/>
        </p:nvSpPr>
        <p:spPr>
          <a:xfrm>
            <a:off x="10091064" y="4065325"/>
            <a:ext cx="1544387" cy="83099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8. </a:t>
            </a:r>
            <a:r>
              <a:rPr lang="cs-CZ" sz="1200" b="1" dirty="0">
                <a:solidFill>
                  <a:prstClr val="black"/>
                </a:solidFill>
                <a:latin typeface="Calibri" panose="020F0502020204030204"/>
              </a:rPr>
              <a:t>7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2021</a:t>
            </a:r>
          </a:p>
          <a:p>
            <a:pPr lvl="0" algn="r">
              <a:defRPr/>
            </a:pPr>
            <a:r>
              <a:rPr lang="cs-CZ" sz="1200" dirty="0">
                <a:solidFill>
                  <a:srgbClr val="FF0000"/>
                </a:solidFill>
                <a:latin typeface="Calibri" panose="020F0502020204030204"/>
              </a:rPr>
              <a:t>1 002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ch</a:t>
            </a:r>
          </a:p>
          <a:p>
            <a:pPr lvl="0" algn="r">
              <a:defRPr/>
            </a:pPr>
            <a:r>
              <a:rPr lang="cs-CZ" sz="1200" dirty="0">
                <a:solidFill>
                  <a:srgbClr val="FF9900"/>
                </a:solidFill>
                <a:latin typeface="Calibri" panose="020F0502020204030204"/>
              </a:rPr>
              <a:t>201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ch</a:t>
            </a:r>
          </a:p>
          <a:p>
            <a:pPr lvl="0" algn="r">
              <a:defRPr/>
            </a:pPr>
            <a:r>
              <a:rPr lang="cs-CZ" sz="1200" dirty="0">
                <a:solidFill>
                  <a:srgbClr val="00B050"/>
                </a:solidFill>
                <a:latin typeface="Calibri" panose="020F0502020204030204"/>
              </a:rPr>
              <a:t>45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ch</a:t>
            </a: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266137AA-9182-40A3-A142-5179882050AD}"/>
              </a:ext>
            </a:extLst>
          </p:cNvPr>
          <p:cNvSpPr txBox="1"/>
          <p:nvPr/>
        </p:nvSpPr>
        <p:spPr>
          <a:xfrm>
            <a:off x="4467521" y="3238409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7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</a:t>
            </a: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6. 2021)</a:t>
            </a: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E32A18E1-478B-49B3-B19F-744DF92D3F6C}"/>
              </a:ext>
            </a:extLst>
          </p:cNvPr>
          <p:cNvSpPr txBox="1"/>
          <p:nvPr/>
        </p:nvSpPr>
        <p:spPr>
          <a:xfrm>
            <a:off x="7780712" y="4294618"/>
            <a:ext cx="1544387" cy="83099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b="1" dirty="0">
                <a:solidFill>
                  <a:prstClr val="black"/>
                </a:solidFill>
                <a:latin typeface="Calibri" panose="020F0502020204030204"/>
              </a:rPr>
              <a:t>30. 6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2021</a:t>
            </a:r>
          </a:p>
          <a:p>
            <a:pPr lvl="0" algn="r">
              <a:defRPr/>
            </a:pPr>
            <a:r>
              <a:rPr lang="cs-CZ" sz="1200" dirty="0">
                <a:solidFill>
                  <a:srgbClr val="FF0000"/>
                </a:solidFill>
                <a:latin typeface="Calibri" panose="020F0502020204030204"/>
              </a:rPr>
              <a:t>709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ch</a:t>
            </a:r>
          </a:p>
          <a:p>
            <a:pPr lvl="0" algn="r">
              <a:defRPr/>
            </a:pPr>
            <a:r>
              <a:rPr lang="cs-CZ" sz="1200" dirty="0">
                <a:solidFill>
                  <a:srgbClr val="FF9900"/>
                </a:solidFill>
                <a:latin typeface="Calibri" panose="020F0502020204030204"/>
              </a:rPr>
              <a:t>247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ch</a:t>
            </a:r>
          </a:p>
          <a:p>
            <a:pPr lvl="0" algn="r"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7 predikovaných</a:t>
            </a:r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EBDA11CD-7AB2-4A54-8221-5C2BB45B0D86}"/>
              </a:ext>
            </a:extLst>
          </p:cNvPr>
          <p:cNvSpPr txBox="1"/>
          <p:nvPr/>
        </p:nvSpPr>
        <p:spPr>
          <a:xfrm>
            <a:off x="8249942" y="3001602"/>
            <a:ext cx="194504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pl-PL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 uzavřenému dni 27. 6. 2021</a:t>
            </a: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44011487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B1276870-99EE-4D94-8977-D4A2442A6BF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9151003"/>
              </p:ext>
            </p:extLst>
          </p:nvPr>
        </p:nvGraphicFramePr>
        <p:xfrm>
          <a:off x="556549" y="867747"/>
          <a:ext cx="11354940" cy="5955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5" name="TextovéPole 14">
            <a:extLst>
              <a:ext uri="{FF2B5EF4-FFF2-40B4-BE49-F238E27FC236}">
                <a16:creationId xmlns:a16="http://schemas.microsoft.com/office/drawing/2014/main" id="{D297EC6B-32AF-493A-B2A7-B285C8CEF178}"/>
              </a:ext>
            </a:extLst>
          </p:cNvPr>
          <p:cNvSpPr txBox="1"/>
          <p:nvPr/>
        </p:nvSpPr>
        <p:spPr>
          <a:xfrm>
            <a:off x="1931960" y="976711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10</a:t>
            </a: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3C9B186B-8163-428B-A364-E90D3144B57D}"/>
              </a:ext>
            </a:extLst>
          </p:cNvPr>
          <p:cNvSpPr/>
          <p:nvPr/>
        </p:nvSpPr>
        <p:spPr>
          <a:xfrm>
            <a:off x="5175471" y="1053160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35669B2F-D612-4664-B709-53D98132D57A}"/>
              </a:ext>
            </a:extLst>
          </p:cNvPr>
          <p:cNvSpPr txBox="1"/>
          <p:nvPr/>
        </p:nvSpPr>
        <p:spPr>
          <a:xfrm>
            <a:off x="5371984" y="1001353"/>
            <a:ext cx="15734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9" name="Přímá spojnice 18">
            <a:extLst>
              <a:ext uri="{FF2B5EF4-FFF2-40B4-BE49-F238E27FC236}">
                <a16:creationId xmlns:a16="http://schemas.microsoft.com/office/drawing/2014/main" id="{76B85254-1A7D-488E-9830-3F99A7742F43}"/>
              </a:ext>
            </a:extLst>
          </p:cNvPr>
          <p:cNvCxnSpPr>
            <a:cxnSpLocks/>
          </p:cNvCxnSpPr>
          <p:nvPr/>
        </p:nvCxnSpPr>
        <p:spPr>
          <a:xfrm>
            <a:off x="1637215" y="1131746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7DE1342D-EB8B-4B07-AF76-9D71853830EC}"/>
              </a:ext>
            </a:extLst>
          </p:cNvPr>
          <p:cNvSpPr txBox="1"/>
          <p:nvPr/>
        </p:nvSpPr>
        <p:spPr>
          <a:xfrm>
            <a:off x="1931960" y="1201931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0</a:t>
            </a:r>
          </a:p>
        </p:txBody>
      </p: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E4706C2C-C343-4CD4-BC4A-ED6979CFCE85}"/>
              </a:ext>
            </a:extLst>
          </p:cNvPr>
          <p:cNvCxnSpPr>
            <a:cxnSpLocks/>
          </p:cNvCxnSpPr>
          <p:nvPr/>
        </p:nvCxnSpPr>
        <p:spPr>
          <a:xfrm>
            <a:off x="1637215" y="1355053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24">
            <a:extLst>
              <a:ext uri="{FF2B5EF4-FFF2-40B4-BE49-F238E27FC236}">
                <a16:creationId xmlns:a16="http://schemas.microsoft.com/office/drawing/2014/main" id="{E453CAE8-274D-40EB-837F-1DFE06B3FC2E}"/>
              </a:ext>
            </a:extLst>
          </p:cNvPr>
          <p:cNvCxnSpPr>
            <a:cxnSpLocks/>
          </p:cNvCxnSpPr>
          <p:nvPr/>
        </p:nvCxnSpPr>
        <p:spPr>
          <a:xfrm>
            <a:off x="1637215" y="1583552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66CCB7E5-B893-4905-A783-B3A264BEFB90}"/>
              </a:ext>
            </a:extLst>
          </p:cNvPr>
          <p:cNvSpPr txBox="1"/>
          <p:nvPr/>
        </p:nvSpPr>
        <p:spPr>
          <a:xfrm>
            <a:off x="9546722" y="1034738"/>
            <a:ext cx="1945049" cy="100027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b="1" dirty="0">
                <a:solidFill>
                  <a:prstClr val="black"/>
                </a:solidFill>
                <a:latin typeface="Calibri" panose="020F0502020204030204"/>
              </a:rPr>
              <a:t>18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7. 2021</a:t>
            </a:r>
          </a:p>
          <a:p>
            <a:pPr lvl="0" algn="r"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7denní </a:t>
            </a:r>
            <a:r>
              <a:rPr lang="cs-CZ" sz="1100" dirty="0" err="1">
                <a:solidFill>
                  <a:prstClr val="black"/>
                </a:solidFill>
                <a:latin typeface="Calibri" panose="020F0502020204030204"/>
              </a:rPr>
              <a:t>kum</a:t>
            </a: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. počet na 100 tis.)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algn="r" fontAlgn="ctr"/>
            <a:r>
              <a:rPr lang="en-US" sz="1200" dirty="0">
                <a:solidFill>
                  <a:srgbClr val="FF0000"/>
                </a:solidFill>
                <a:latin typeface="Calibri" panose="020F0502020204030204" pitchFamily="34" charset="0"/>
              </a:rPr>
              <a:t>24</a:t>
            </a:r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en-US" sz="1200" dirty="0">
                <a:solidFill>
                  <a:srgbClr val="FFC000"/>
                </a:solidFill>
                <a:latin typeface="Calibri" panose="020F0502020204030204" pitchFamily="34" charset="0"/>
              </a:rPr>
              <a:t>5</a:t>
            </a:r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en-US" sz="1200" dirty="0">
                <a:solidFill>
                  <a:srgbClr val="00B050"/>
                </a:solidFill>
                <a:latin typeface="Calibri" panose="020F0502020204030204" pitchFamily="34" charset="0"/>
              </a:rPr>
              <a:t>1</a:t>
            </a:r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 na 100 tisíc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266137AA-9182-40A3-A142-5179882050AD}"/>
              </a:ext>
            </a:extLst>
          </p:cNvPr>
          <p:cNvSpPr txBox="1"/>
          <p:nvPr/>
        </p:nvSpPr>
        <p:spPr>
          <a:xfrm>
            <a:off x="1924103" y="1434256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70</a:t>
            </a:r>
          </a:p>
          <a:p>
            <a:pPr lvl="0"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scénáře ze dne 1. 6. 2021, R aplikováno od 24. 5. 2021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E32A18E1-478B-49B3-B19F-744DF92D3F6C}"/>
              </a:ext>
            </a:extLst>
          </p:cNvPr>
          <p:cNvSpPr txBox="1"/>
          <p:nvPr/>
        </p:nvSpPr>
        <p:spPr>
          <a:xfrm>
            <a:off x="7482850" y="1034738"/>
            <a:ext cx="1945048" cy="100027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b="1" dirty="0">
                <a:solidFill>
                  <a:prstClr val="black"/>
                </a:solidFill>
                <a:latin typeface="Calibri" panose="020F0502020204030204"/>
              </a:rPr>
              <a:t>30. 6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2021 </a:t>
            </a:r>
            <a:b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7denní </a:t>
            </a:r>
            <a:r>
              <a:rPr lang="cs-CZ" sz="1100" dirty="0" err="1">
                <a:solidFill>
                  <a:prstClr val="black"/>
                </a:solidFill>
                <a:latin typeface="Calibri" panose="020F0502020204030204"/>
              </a:rPr>
              <a:t>kum</a:t>
            </a: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. počet na 100 tis.)</a:t>
            </a:r>
            <a:endParaRPr kumimoji="0" lang="cs-CZ" sz="12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algn="r" fontAlgn="ctr"/>
            <a:r>
              <a:rPr lang="en-US" sz="1200" dirty="0">
                <a:solidFill>
                  <a:srgbClr val="FF0000"/>
                </a:solidFill>
                <a:latin typeface="Calibri" panose="020F0502020204030204" pitchFamily="34" charset="0"/>
              </a:rPr>
              <a:t>17</a:t>
            </a:r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en-US" sz="1200" dirty="0">
                <a:solidFill>
                  <a:srgbClr val="FFC000"/>
                </a:solidFill>
                <a:latin typeface="Calibri" panose="020F0502020204030204" pitchFamily="34" charset="0"/>
              </a:rPr>
              <a:t>6</a:t>
            </a:r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en-US" sz="1200" dirty="0">
                <a:solidFill>
                  <a:srgbClr val="00B050"/>
                </a:solidFill>
                <a:latin typeface="Calibri" panose="020F0502020204030204" pitchFamily="34" charset="0"/>
              </a:rPr>
              <a:t>3</a:t>
            </a:r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 na 100 tisíc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30" name="TextBox 6">
            <a:extLst>
              <a:ext uri="{FF2B5EF4-FFF2-40B4-BE49-F238E27FC236}">
                <a16:creationId xmlns:a16="http://schemas.microsoft.com/office/drawing/2014/main" id="{8B058FAD-246D-4FB5-9A38-9461A45D5931}"/>
              </a:ext>
            </a:extLst>
          </p:cNvPr>
          <p:cNvSpPr txBox="1"/>
          <p:nvPr/>
        </p:nvSpPr>
        <p:spPr>
          <a:xfrm rot="16200000">
            <a:off x="-1483263" y="3360473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2AE1522-C017-42C8-A5BD-E7F3E887F3AA}"/>
              </a:ext>
            </a:extLst>
          </p:cNvPr>
          <p:cNvSpPr txBox="1"/>
          <p:nvPr/>
        </p:nvSpPr>
        <p:spPr>
          <a:xfrm>
            <a:off x="7780712" y="662003"/>
            <a:ext cx="29732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i="1" dirty="0"/>
              <a:t>Predikované hodnoty </a:t>
            </a:r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C2CDA8BD-006D-42A8-BA88-064DA323F845}"/>
              </a:ext>
            </a:extLst>
          </p:cNvPr>
          <p:cNvSpPr txBox="1"/>
          <p:nvPr/>
        </p:nvSpPr>
        <p:spPr>
          <a:xfrm>
            <a:off x="11577452" y="2164621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00" b="1" dirty="0">
                <a:latin typeface="Calibri" panose="020F0502020204030204" pitchFamily="34" charset="0"/>
                <a:cs typeface="Calibri" panose="020F0502020204030204" pitchFamily="34" charset="0"/>
              </a:rPr>
              <a:t>100</a:t>
            </a:r>
          </a:p>
          <a:p>
            <a:r>
              <a:rPr lang="cs-CZ" sz="800" dirty="0">
                <a:latin typeface="Calibri" panose="020F0502020204030204" pitchFamily="34" charset="0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5B77FD62-F375-40BF-A635-0F86D4274581}"/>
              </a:ext>
            </a:extLst>
          </p:cNvPr>
          <p:cNvSpPr txBox="1"/>
          <p:nvPr/>
        </p:nvSpPr>
        <p:spPr>
          <a:xfrm>
            <a:off x="11593115" y="3954716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00" b="1" dirty="0">
                <a:latin typeface="Calibri" panose="020F0502020204030204" pitchFamily="34" charset="0"/>
                <a:cs typeface="Calibri" panose="020F0502020204030204" pitchFamily="34" charset="0"/>
              </a:rPr>
              <a:t>50</a:t>
            </a:r>
          </a:p>
          <a:p>
            <a:r>
              <a:rPr lang="cs-CZ" sz="800" dirty="0">
                <a:latin typeface="Calibri" panose="020F0502020204030204" pitchFamily="34" charset="0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31" name="Nadpis 1">
            <a:extLst>
              <a:ext uri="{FF2B5EF4-FFF2-40B4-BE49-F238E27FC236}">
                <a16:creationId xmlns:a16="http://schemas.microsoft.com/office/drawing/2014/main" id="{CFCC2C02-F284-4941-91C6-5CC2566B6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en-US" sz="1800" dirty="0" err="1">
                <a:latin typeface="+mj-lt"/>
              </a:rPr>
              <a:t>Modelov</a:t>
            </a:r>
            <a:r>
              <a:rPr lang="cs-CZ" sz="1800" dirty="0">
                <a:latin typeface="+mj-lt"/>
              </a:rPr>
              <a:t>é scénáře: 7denní hodnoty na 100 tisíc obyvatel:</a:t>
            </a:r>
            <a:br>
              <a:rPr lang="cs-CZ" sz="1800" dirty="0">
                <a:latin typeface="+mj-lt"/>
              </a:rPr>
            </a:br>
            <a:r>
              <a:rPr lang="cs-CZ" sz="1800" dirty="0"/>
              <a:t>Královehradecký kraj</a:t>
            </a:r>
            <a:endParaRPr lang="cs-CZ" sz="1800" dirty="0">
              <a:latin typeface="+mj-lt"/>
            </a:endParaRPr>
          </a:p>
        </p:txBody>
      </p: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EE744899-4831-4573-9408-495F16CA9A16}"/>
              </a:ext>
            </a:extLst>
          </p:cNvPr>
          <p:cNvSpPr txBox="1"/>
          <p:nvPr/>
        </p:nvSpPr>
        <p:spPr>
          <a:xfrm>
            <a:off x="228000" y="6456056"/>
            <a:ext cx="1173470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100" dirty="0">
                <a:solidFill>
                  <a:schemeClr val="accent1"/>
                </a:solidFill>
              </a:rPr>
              <a:t>Hodnota celorepublikového modelu byla lokalizovaná do příslušného kraje se zohledněním trendu nárůstu ve dnech 24. 5. až 31. 5.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5226E652-89AF-46A8-B871-CBB7F7FF0671}"/>
              </a:ext>
            </a:extLst>
          </p:cNvPr>
          <p:cNvGrpSpPr/>
          <p:nvPr/>
        </p:nvGrpSpPr>
        <p:grpSpPr>
          <a:xfrm>
            <a:off x="11136428" y="657628"/>
            <a:ext cx="969271" cy="298637"/>
            <a:chOff x="12375318" y="0"/>
            <a:chExt cx="1580446" cy="486943"/>
          </a:xfrm>
        </p:grpSpPr>
        <p:pic>
          <p:nvPicPr>
            <p:cNvPr id="33" name="Obrázek 32">
              <a:extLst>
                <a:ext uri="{FF2B5EF4-FFF2-40B4-BE49-F238E27FC236}">
                  <a16:creationId xmlns:a16="http://schemas.microsoft.com/office/drawing/2014/main" id="{83466CA5-04E0-48E3-992E-6C7EC4F2CBE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375318" y="17690"/>
              <a:ext cx="367200" cy="411266"/>
            </a:xfrm>
            <a:prstGeom prst="rect">
              <a:avLst/>
            </a:prstGeom>
          </p:spPr>
        </p:pic>
        <p:pic>
          <p:nvPicPr>
            <p:cNvPr id="34" name="Obrázek 33">
              <a:extLst>
                <a:ext uri="{FF2B5EF4-FFF2-40B4-BE49-F238E27FC236}">
                  <a16:creationId xmlns:a16="http://schemas.microsoft.com/office/drawing/2014/main" id="{FD6B49AF-CC89-4B61-8EA0-3044D43B4E5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855762" y="0"/>
              <a:ext cx="1100002" cy="486943"/>
            </a:xfrm>
            <a:prstGeom prst="rect">
              <a:avLst/>
            </a:prstGeom>
          </p:spPr>
        </p:pic>
      </p:grp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D9569C9A-1597-4AFB-A47C-BAC599FF1AB6}"/>
              </a:ext>
            </a:extLst>
          </p:cNvPr>
          <p:cNvSpPr txBox="1"/>
          <p:nvPr/>
        </p:nvSpPr>
        <p:spPr>
          <a:xfrm>
            <a:off x="5369584" y="1231063"/>
            <a:ext cx="194504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pl-PL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 uzavřenému dni 27. 6. 2021</a:t>
            </a: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90863613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B1276870-99EE-4D94-8977-D4A2442A6BF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90160452"/>
              </p:ext>
            </p:extLst>
          </p:nvPr>
        </p:nvGraphicFramePr>
        <p:xfrm>
          <a:off x="556549" y="3273786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399F9D63-C378-4018-B97A-C6FF1B38BBF2}"/>
              </a:ext>
            </a:extLst>
          </p:cNvPr>
          <p:cNvSpPr txBox="1"/>
          <p:nvPr/>
        </p:nvSpPr>
        <p:spPr>
          <a:xfrm>
            <a:off x="214075" y="1050497"/>
            <a:ext cx="38671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 dle hodnoty reprodukčního čísla 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69B8FCCD-AB42-495D-8900-E0EDAF4D3695}"/>
              </a:ext>
            </a:extLst>
          </p:cNvPr>
          <p:cNvSpPr txBox="1"/>
          <p:nvPr/>
        </p:nvSpPr>
        <p:spPr>
          <a:xfrm>
            <a:off x="4792918" y="638978"/>
            <a:ext cx="5031486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vý scénář (R = 1,10)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915432FB-02C6-4A48-823E-AAFFD38F04CD}"/>
              </a:ext>
            </a:extLst>
          </p:cNvPr>
          <p:cNvSpPr txBox="1"/>
          <p:nvPr/>
        </p:nvSpPr>
        <p:spPr>
          <a:xfrm>
            <a:off x="4792918" y="1947883"/>
            <a:ext cx="5031486" cy="369332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zpomalení (R = 0,70)</a:t>
            </a:r>
          </a:p>
        </p:txBody>
      </p:sp>
      <p:cxnSp>
        <p:nvCxnSpPr>
          <p:cNvPr id="10" name="Přímá spojnice se šipkou 9">
            <a:extLst>
              <a:ext uri="{FF2B5EF4-FFF2-40B4-BE49-F238E27FC236}">
                <a16:creationId xmlns:a16="http://schemas.microsoft.com/office/drawing/2014/main" id="{2FBBF0DE-751C-4A8D-9688-745F518DEA63}"/>
              </a:ext>
            </a:extLst>
          </p:cNvPr>
          <p:cNvCxnSpPr/>
          <p:nvPr/>
        </p:nvCxnSpPr>
        <p:spPr>
          <a:xfrm flipV="1">
            <a:off x="4154743" y="864532"/>
            <a:ext cx="523875" cy="56949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Přímá spojnice se šipkou 10">
            <a:extLst>
              <a:ext uri="{FF2B5EF4-FFF2-40B4-BE49-F238E27FC236}">
                <a16:creationId xmlns:a16="http://schemas.microsoft.com/office/drawing/2014/main" id="{427BD7B2-178E-45A0-B634-921C0C8A629F}"/>
              </a:ext>
            </a:extLst>
          </p:cNvPr>
          <p:cNvCxnSpPr/>
          <p:nvPr/>
        </p:nvCxnSpPr>
        <p:spPr>
          <a:xfrm>
            <a:off x="4154743" y="1503447"/>
            <a:ext cx="523875" cy="64073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6">
            <a:extLst>
              <a:ext uri="{FF2B5EF4-FFF2-40B4-BE49-F238E27FC236}">
                <a16:creationId xmlns:a16="http://schemas.microsoft.com/office/drawing/2014/main" id="{69CEF138-18A8-4271-9FEF-402DB7C25B86}"/>
              </a:ext>
            </a:extLst>
          </p:cNvPr>
          <p:cNvSpPr txBox="1"/>
          <p:nvPr/>
        </p:nvSpPr>
        <p:spPr>
          <a:xfrm>
            <a:off x="489851" y="2893021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D297EC6B-32AF-493A-B2A7-B285C8CEF178}"/>
              </a:ext>
            </a:extLst>
          </p:cNvPr>
          <p:cNvSpPr txBox="1"/>
          <p:nvPr/>
        </p:nvSpPr>
        <p:spPr>
          <a:xfrm>
            <a:off x="4475378" y="2789253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10</a:t>
            </a: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3C9B186B-8163-428B-A364-E90D3144B57D}"/>
              </a:ext>
            </a:extLst>
          </p:cNvPr>
          <p:cNvSpPr/>
          <p:nvPr/>
        </p:nvSpPr>
        <p:spPr>
          <a:xfrm>
            <a:off x="7952761" y="2841929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35669B2F-D612-4664-B709-53D98132D57A}"/>
              </a:ext>
            </a:extLst>
          </p:cNvPr>
          <p:cNvSpPr txBox="1"/>
          <p:nvPr/>
        </p:nvSpPr>
        <p:spPr>
          <a:xfrm>
            <a:off x="8249942" y="2790122"/>
            <a:ext cx="15734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9" name="Přímá spojnice 18">
            <a:extLst>
              <a:ext uri="{FF2B5EF4-FFF2-40B4-BE49-F238E27FC236}">
                <a16:creationId xmlns:a16="http://schemas.microsoft.com/office/drawing/2014/main" id="{76B85254-1A7D-488E-9830-3F99A7742F43}"/>
              </a:ext>
            </a:extLst>
          </p:cNvPr>
          <p:cNvCxnSpPr>
            <a:cxnSpLocks/>
          </p:cNvCxnSpPr>
          <p:nvPr/>
        </p:nvCxnSpPr>
        <p:spPr>
          <a:xfrm>
            <a:off x="4180633" y="2944288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7DE1342D-EB8B-4B07-AF76-9D71853830EC}"/>
              </a:ext>
            </a:extLst>
          </p:cNvPr>
          <p:cNvSpPr txBox="1"/>
          <p:nvPr/>
        </p:nvSpPr>
        <p:spPr>
          <a:xfrm>
            <a:off x="4475378" y="3014473"/>
            <a:ext cx="313540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0	</a:t>
            </a:r>
          </a:p>
        </p:txBody>
      </p: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E4706C2C-C343-4CD4-BC4A-ED6979CFCE85}"/>
              </a:ext>
            </a:extLst>
          </p:cNvPr>
          <p:cNvCxnSpPr>
            <a:cxnSpLocks/>
          </p:cNvCxnSpPr>
          <p:nvPr/>
        </p:nvCxnSpPr>
        <p:spPr>
          <a:xfrm>
            <a:off x="4180633" y="3167595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24">
            <a:extLst>
              <a:ext uri="{FF2B5EF4-FFF2-40B4-BE49-F238E27FC236}">
                <a16:creationId xmlns:a16="http://schemas.microsoft.com/office/drawing/2014/main" id="{E453CAE8-274D-40EB-837F-1DFE06B3FC2E}"/>
              </a:ext>
            </a:extLst>
          </p:cNvPr>
          <p:cNvCxnSpPr>
            <a:cxnSpLocks/>
          </p:cNvCxnSpPr>
          <p:nvPr/>
        </p:nvCxnSpPr>
        <p:spPr>
          <a:xfrm>
            <a:off x="4180633" y="3387705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66CCB7E5-B893-4905-A783-B3A264BEFB90}"/>
              </a:ext>
            </a:extLst>
          </p:cNvPr>
          <p:cNvSpPr txBox="1"/>
          <p:nvPr/>
        </p:nvSpPr>
        <p:spPr>
          <a:xfrm>
            <a:off x="10091064" y="3879119"/>
            <a:ext cx="1544387" cy="83099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8. </a:t>
            </a:r>
            <a:r>
              <a:rPr lang="cs-CZ" sz="1200" b="1" dirty="0">
                <a:solidFill>
                  <a:prstClr val="black"/>
                </a:solidFill>
                <a:latin typeface="Calibri" panose="020F0502020204030204"/>
              </a:rPr>
              <a:t>7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2021</a:t>
            </a: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33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7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1 predikovaných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266137AA-9182-40A3-A142-5179882050AD}"/>
              </a:ext>
            </a:extLst>
          </p:cNvPr>
          <p:cNvSpPr txBox="1"/>
          <p:nvPr/>
        </p:nvSpPr>
        <p:spPr>
          <a:xfrm>
            <a:off x="4467521" y="3238409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7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</a:t>
            </a: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6. 2021, R aplikováno od 24. 5. 2021)</a:t>
            </a: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E32A18E1-478B-49B3-B19F-744DF92D3F6C}"/>
              </a:ext>
            </a:extLst>
          </p:cNvPr>
          <p:cNvSpPr txBox="1"/>
          <p:nvPr/>
        </p:nvSpPr>
        <p:spPr>
          <a:xfrm>
            <a:off x="7780712" y="4294618"/>
            <a:ext cx="1544387" cy="83099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b="1" dirty="0">
                <a:solidFill>
                  <a:prstClr val="black"/>
                </a:solidFill>
                <a:latin typeface="Calibri" panose="020F0502020204030204"/>
              </a:rPr>
              <a:t>30. 6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2021</a:t>
            </a: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24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8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3 predikovaných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22" name="Nadpis 1">
            <a:extLst>
              <a:ext uri="{FF2B5EF4-FFF2-40B4-BE49-F238E27FC236}">
                <a16:creationId xmlns:a16="http://schemas.microsoft.com/office/drawing/2014/main" id="{6518D429-51CE-40C1-89F9-ADE1A20304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ce ve třech scénářích: </a:t>
            </a:r>
            <a:r>
              <a:rPr lang="cs-CZ" dirty="0"/>
              <a:t>Pardubický</a:t>
            </a:r>
            <a:r>
              <a:rPr lang="cs-CZ" dirty="0">
                <a:latin typeface="+mj-lt"/>
              </a:rPr>
              <a:t> kraj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DD933C75-0B2E-45EA-B755-81A1E6641817}"/>
              </a:ext>
            </a:extLst>
          </p:cNvPr>
          <p:cNvGrpSpPr/>
          <p:nvPr/>
        </p:nvGrpSpPr>
        <p:grpSpPr>
          <a:xfrm>
            <a:off x="11058210" y="649226"/>
            <a:ext cx="1025315" cy="265174"/>
            <a:chOff x="12375318" y="5014932"/>
            <a:chExt cx="2087955" cy="540000"/>
          </a:xfrm>
        </p:grpSpPr>
        <p:pic>
          <p:nvPicPr>
            <p:cNvPr id="30" name="Obrázek 29">
              <a:extLst>
                <a:ext uri="{FF2B5EF4-FFF2-40B4-BE49-F238E27FC236}">
                  <a16:creationId xmlns:a16="http://schemas.microsoft.com/office/drawing/2014/main" id="{0EF69E19-EE3C-4047-A2AC-1A0D5D72B59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2375318" y="5047046"/>
              <a:ext cx="373253" cy="468000"/>
            </a:xfrm>
            <a:prstGeom prst="rect">
              <a:avLst/>
            </a:prstGeom>
          </p:spPr>
        </p:pic>
        <p:pic>
          <p:nvPicPr>
            <p:cNvPr id="31" name="Obrázek 30">
              <a:extLst>
                <a:ext uri="{FF2B5EF4-FFF2-40B4-BE49-F238E27FC236}">
                  <a16:creationId xmlns:a16="http://schemas.microsoft.com/office/drawing/2014/main" id="{36185778-910C-4229-A69C-9D28E2309F6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2855762" y="5014932"/>
              <a:ext cx="1607511" cy="540000"/>
            </a:xfrm>
            <a:prstGeom prst="rect">
              <a:avLst/>
            </a:prstGeom>
          </p:spPr>
        </p:pic>
      </p:grp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69A90E37-14D5-4428-8B08-EBB25A1B7101}"/>
              </a:ext>
            </a:extLst>
          </p:cNvPr>
          <p:cNvSpPr txBox="1"/>
          <p:nvPr/>
        </p:nvSpPr>
        <p:spPr>
          <a:xfrm>
            <a:off x="8249942" y="3001602"/>
            <a:ext cx="194504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pl-PL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 uzavřenému dni 27. 6. 2021</a:t>
            </a: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50829064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ulka 9">
            <a:extLst>
              <a:ext uri="{FF2B5EF4-FFF2-40B4-BE49-F238E27FC236}">
                <a16:creationId xmlns:a16="http://schemas.microsoft.com/office/drawing/2014/main" id="{2CDF3C9D-B366-482C-9DEE-848BF9D72A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7881235"/>
              </p:ext>
            </p:extLst>
          </p:nvPr>
        </p:nvGraphicFramePr>
        <p:xfrm>
          <a:off x="45720" y="1318054"/>
          <a:ext cx="12108951" cy="5019468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18422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3468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93810515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272550134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889585356"/>
                    </a:ext>
                  </a:extLst>
                </a:gridCol>
                <a:gridCol w="1116000">
                  <a:extLst>
                    <a:ext uri="{9D8B030D-6E8A-4147-A177-3AD203B41FA5}">
                      <a16:colId xmlns:a16="http://schemas.microsoft.com/office/drawing/2014/main" val="3083214646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487868241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891010204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340384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264344487"/>
                    </a:ext>
                  </a:extLst>
                </a:gridCol>
                <a:gridCol w="1008000">
                  <a:extLst>
                    <a:ext uri="{9D8B030D-6E8A-4147-A177-3AD203B41FA5}">
                      <a16:colId xmlns:a16="http://schemas.microsoft.com/office/drawing/2014/main" val="13148050"/>
                    </a:ext>
                  </a:extLst>
                </a:gridCol>
                <a:gridCol w="1008000">
                  <a:extLst>
                    <a:ext uri="{9D8B030D-6E8A-4147-A177-3AD203B41FA5}">
                      <a16:colId xmlns:a16="http://schemas.microsoft.com/office/drawing/2014/main" val="1091220691"/>
                    </a:ext>
                  </a:extLst>
                </a:gridCol>
              </a:tblGrid>
              <a:tr h="822960">
                <a:tc>
                  <a:txBody>
                    <a:bodyPr/>
                    <a:lstStyle/>
                    <a:p>
                      <a:pPr algn="l"/>
                      <a:endParaRPr lang="cs-CZ" sz="16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cs-CZ" sz="1600" u="sng" dirty="0"/>
                        <a:t>Predikovaný celkový počet</a:t>
                      </a:r>
                      <a:r>
                        <a:rPr lang="cs-CZ" sz="1600" u="none" dirty="0"/>
                        <a:t> </a:t>
                      </a:r>
                      <a:br>
                        <a:rPr lang="cs-CZ" sz="1600" u="none" dirty="0"/>
                      </a:br>
                      <a:r>
                        <a:rPr lang="cs-CZ" sz="1600" u="none" dirty="0"/>
                        <a:t>N</a:t>
                      </a:r>
                      <a:r>
                        <a:rPr lang="cs-CZ" sz="1600" dirty="0"/>
                        <a:t>ově prokázané nákazy COVID-19</a:t>
                      </a:r>
                      <a:endParaRPr lang="cs-CZ" sz="1600" b="1" dirty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alita: naměřené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odnot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u="sng" dirty="0"/>
                        <a:t>Predikovaný průměrný denní počet</a:t>
                      </a:r>
                      <a:r>
                        <a:rPr lang="cs-CZ" sz="1600" dirty="0"/>
                        <a:t> Nově prokázané nákazy COVID-19</a:t>
                      </a:r>
                      <a:endParaRPr lang="cs-CZ" sz="16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600" b="1" dirty="0"/>
                        <a:t>Realita: naměřené</a:t>
                      </a:r>
                    </a:p>
                    <a:p>
                      <a:pPr algn="ctr"/>
                      <a:r>
                        <a:rPr lang="cs-CZ" sz="1600" b="1" dirty="0"/>
                        <a:t>hodnoty</a:t>
                      </a:r>
                      <a:endParaRPr lang="en-US" sz="16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16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87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odnota R</a:t>
                      </a:r>
                      <a:br>
                        <a:rPr lang="cs-CZ" sz="16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od 24</a:t>
                      </a:r>
                      <a:r>
                        <a:rPr lang="en-US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r>
                        <a:rPr lang="cs-CZ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5.)</a:t>
                      </a:r>
                      <a:endParaRPr lang="cs-CZ" sz="16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7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8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9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,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</a:t>
                      </a:r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FF"/>
                        </a:highlight>
                        <a:latin typeface="+mj-lt"/>
                      </a:endParaRP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7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8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9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,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</a:t>
                      </a:r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FF"/>
                        </a:highlight>
                        <a:latin typeface="+mj-lt"/>
                      </a:endParaRP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highlight>
                            <a:srgbClr val="FFFFFF"/>
                          </a:highlight>
                        </a:rPr>
                        <a:t>denní průměr včetně víkendů</a:t>
                      </a:r>
                      <a:endParaRPr lang="en-US" sz="1200" dirty="0">
                        <a:highlight>
                          <a:srgbClr val="FFFFFF"/>
                        </a:highlight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highlight>
                            <a:srgbClr val="FFFFFF"/>
                          </a:highlight>
                        </a:rPr>
                        <a:t>denní průměr v pracovních dnech</a:t>
                      </a:r>
                      <a:endParaRPr lang="cs-CZ" sz="1200" dirty="0">
                        <a:highlight>
                          <a:srgbClr val="FFFFFF"/>
                        </a:highlight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8491739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indent="0" algn="l" fontAlgn="b"/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  <a:r>
                        <a:rPr lang="cs-CZ" sz="1450" b="1" u="none" strike="noStrike" dirty="0">
                          <a:effectLst/>
                        </a:rPr>
                        <a:t>.–13. 6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 tisíce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6621032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50" u="none" strike="noStrike" dirty="0">
                          <a:effectLst/>
                        </a:rPr>
                        <a:t>Období </a:t>
                      </a:r>
                      <a:r>
                        <a:rPr lang="cs-CZ" sz="1450" b="1" u="none" strike="noStrike" dirty="0">
                          <a:effectLst/>
                        </a:rPr>
                        <a:t>14.–20. 6.</a:t>
                      </a:r>
                      <a:endParaRPr lang="cs-CZ" sz="14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 tisíce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62736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1</a:t>
                      </a:r>
                      <a:r>
                        <a:rPr lang="cs-CZ" sz="1450" b="1" u="none" strike="noStrike" dirty="0">
                          <a:effectLst/>
                        </a:rPr>
                        <a:t>.–27. 6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 tisíce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3466947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indent="0" algn="l" fontAlgn="b"/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8. 6.</a:t>
                      </a:r>
                      <a:r>
                        <a:rPr lang="cs-CZ" sz="1450" b="1" u="none" strike="noStrike" dirty="0">
                          <a:effectLst/>
                        </a:rPr>
                        <a:t>–4. 7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 tisíce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7246171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.</a:t>
                      </a:r>
                      <a:r>
                        <a:rPr lang="cs-CZ" sz="1450" b="1" u="none" strike="noStrike" dirty="0">
                          <a:effectLst/>
                        </a:rPr>
                        <a:t>–11. 7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 tisíce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9339872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.</a:t>
                      </a:r>
                      <a:r>
                        <a:rPr lang="cs-CZ" sz="1450" b="1" u="none" strike="noStrike" dirty="0">
                          <a:effectLst/>
                        </a:rPr>
                        <a:t>–18. 7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 tisíce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651041"/>
                  </a:ext>
                </a:extLst>
              </a:tr>
            </a:tbl>
          </a:graphicData>
        </a:graphic>
      </p:graphicFrame>
      <p:sp>
        <p:nvSpPr>
          <p:cNvPr id="9" name="TextovéPole 8">
            <a:extLst>
              <a:ext uri="{FF2B5EF4-FFF2-40B4-BE49-F238E27FC236}">
                <a16:creationId xmlns:a16="http://schemas.microsoft.com/office/drawing/2014/main" id="{E4A0DC13-0AB7-42C0-B44A-C8095E8723E9}"/>
              </a:ext>
            </a:extLst>
          </p:cNvPr>
          <p:cNvSpPr txBox="1"/>
          <p:nvPr/>
        </p:nvSpPr>
        <p:spPr>
          <a:xfrm>
            <a:off x="45720" y="6388483"/>
            <a:ext cx="12090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200" dirty="0">
                <a:solidFill>
                  <a:schemeClr val="accent1"/>
                </a:solidFill>
              </a:rPr>
              <a:t>Predikované počty odpovídají modelovaným hodnotám (kalibrovaným na hodnoty pozorované v pracovních dnech), naměřené hodnoty zahrnují všechny počty hlášené do databáze, včetně potenciálně nižších záchytů nemoci v nepracovních dnech. V případě denního průměrného počtu jsou uvedeny i hodnoty, které zahrnují pouze pracovní dny.</a:t>
            </a:r>
          </a:p>
        </p:txBody>
      </p:sp>
      <p:sp>
        <p:nvSpPr>
          <p:cNvPr id="8" name="Nadpis 1">
            <a:extLst>
              <a:ext uri="{FF2B5EF4-FFF2-40B4-BE49-F238E27FC236}">
                <a16:creationId xmlns:a16="http://schemas.microsoft.com/office/drawing/2014/main" id="{DBBDF33E-D7ED-4B93-A481-745FE41008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558611" cy="576000"/>
          </a:xfrm>
        </p:spPr>
        <p:txBody>
          <a:bodyPr/>
          <a:lstStyle/>
          <a:p>
            <a:r>
              <a:rPr lang="cs-CZ" dirty="0" err="1"/>
              <a:t>Rekalibrace</a:t>
            </a:r>
            <a:r>
              <a:rPr lang="cs-CZ" dirty="0"/>
              <a:t> prediktivního modelu pro </a:t>
            </a:r>
            <a:r>
              <a:rPr lang="cs-CZ" u="sng" dirty="0"/>
              <a:t>nové scénáře</a:t>
            </a:r>
            <a:r>
              <a:rPr lang="cs-CZ" dirty="0"/>
              <a:t>: </a:t>
            </a:r>
            <a:br>
              <a:rPr lang="cs-CZ" dirty="0"/>
            </a:br>
            <a:r>
              <a:rPr lang="cs-CZ" dirty="0"/>
              <a:t>Pardubický kraj</a:t>
            </a:r>
          </a:p>
        </p:txBody>
      </p:sp>
      <p:grpSp>
        <p:nvGrpSpPr>
          <p:cNvPr id="6" name="Skupina 5">
            <a:extLst>
              <a:ext uri="{FF2B5EF4-FFF2-40B4-BE49-F238E27FC236}">
                <a16:creationId xmlns:a16="http://schemas.microsoft.com/office/drawing/2014/main" id="{28B9F244-ACF0-4268-84FE-DC473F1F4C4B}"/>
              </a:ext>
            </a:extLst>
          </p:cNvPr>
          <p:cNvGrpSpPr/>
          <p:nvPr/>
        </p:nvGrpSpPr>
        <p:grpSpPr>
          <a:xfrm>
            <a:off x="11058210" y="964017"/>
            <a:ext cx="1025315" cy="265174"/>
            <a:chOff x="12375318" y="5014932"/>
            <a:chExt cx="2087955" cy="540000"/>
          </a:xfrm>
        </p:grpSpPr>
        <p:pic>
          <p:nvPicPr>
            <p:cNvPr id="7" name="Obrázek 6">
              <a:extLst>
                <a:ext uri="{FF2B5EF4-FFF2-40B4-BE49-F238E27FC236}">
                  <a16:creationId xmlns:a16="http://schemas.microsoft.com/office/drawing/2014/main" id="{29B08BB8-3C04-4412-8C36-A0BDC615B7E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375318" y="5047046"/>
              <a:ext cx="373253" cy="468000"/>
            </a:xfrm>
            <a:prstGeom prst="rect">
              <a:avLst/>
            </a:prstGeom>
          </p:spPr>
        </p:pic>
        <p:pic>
          <p:nvPicPr>
            <p:cNvPr id="11" name="Obrázek 10">
              <a:extLst>
                <a:ext uri="{FF2B5EF4-FFF2-40B4-BE49-F238E27FC236}">
                  <a16:creationId xmlns:a16="http://schemas.microsoft.com/office/drawing/2014/main" id="{2E21EEE7-6FD0-4964-8B34-52DD38AD916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2855762" y="5014932"/>
              <a:ext cx="1607511" cy="540000"/>
            </a:xfrm>
            <a:prstGeom prst="rect">
              <a:avLst/>
            </a:prstGeom>
          </p:spPr>
        </p:pic>
      </p:grp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D7F0EA19-C730-41D8-8003-5F75B6FEBEE8}"/>
              </a:ext>
            </a:extLst>
          </p:cNvPr>
          <p:cNvSpPr txBox="1"/>
          <p:nvPr/>
        </p:nvSpPr>
        <p:spPr>
          <a:xfrm>
            <a:off x="0" y="576002"/>
            <a:ext cx="1231394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600" b="1" dirty="0">
                <a:solidFill>
                  <a:srgbClr val="000000"/>
                </a:solidFill>
              </a:rPr>
              <a:t>Epidemické křivky vytvořeny pomocí modelu pro krátkodobé predikce ÚZIS ČR, </a:t>
            </a:r>
            <a:r>
              <a:rPr lang="pl-PL" sz="1600" b="1" u="sng" dirty="0">
                <a:solidFill>
                  <a:srgbClr val="000000"/>
                </a:solidFill>
              </a:rPr>
              <a:t>predikce odpovídá údajům z 1. 6. 2021.</a:t>
            </a:r>
            <a:endParaRPr lang="cs-CZ" sz="1600" b="1" u="sng" dirty="0">
              <a:solidFill>
                <a:srgbClr val="000000"/>
              </a:solidFill>
            </a:endParaRPr>
          </a:p>
          <a:p>
            <a:pPr lvl="0">
              <a:defRPr/>
            </a:pPr>
            <a:r>
              <a:rPr lang="cs-CZ" sz="1200" b="1" dirty="0">
                <a:solidFill>
                  <a:srgbClr val="000000"/>
                </a:solidFill>
              </a:rPr>
              <a:t>Hodnota celorepublikového modelu byla lokalizovaná do příslušného kraje se zohledněním trendu nárůstu ve </a:t>
            </a:r>
            <a:r>
              <a:rPr lang="pl-PL" sz="1200" b="1" dirty="0">
                <a:solidFill>
                  <a:srgbClr val="000000"/>
                </a:solidFill>
              </a:rPr>
              <a:t>dnech 24. 5. až 31. 5.</a:t>
            </a:r>
          </a:p>
          <a:p>
            <a:pPr lvl="0">
              <a:defRPr/>
            </a:pPr>
            <a:r>
              <a:rPr lang="cs-CZ" sz="1200" b="1" dirty="0">
                <a:solidFill>
                  <a:srgbClr val="000000"/>
                </a:solidFill>
              </a:rPr>
              <a:t>Naměřené hodnoty jsou aktuální </a:t>
            </a:r>
            <a:r>
              <a:rPr lang="pl-PL" sz="1200" b="1" dirty="0">
                <a:solidFill>
                  <a:srgbClr val="000000"/>
                </a:solidFill>
              </a:rPr>
              <a:t>k uzavřenému dni 27. 6. 2021</a:t>
            </a:r>
            <a:r>
              <a:rPr lang="cs-CZ" sz="1200" b="1" dirty="0">
                <a:solidFill>
                  <a:srgbClr val="000000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99433681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B1276870-99EE-4D94-8977-D4A2442A6BF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46647543"/>
              </p:ext>
            </p:extLst>
          </p:nvPr>
        </p:nvGraphicFramePr>
        <p:xfrm>
          <a:off x="556549" y="867747"/>
          <a:ext cx="11354940" cy="5955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5" name="TextovéPole 14">
            <a:extLst>
              <a:ext uri="{FF2B5EF4-FFF2-40B4-BE49-F238E27FC236}">
                <a16:creationId xmlns:a16="http://schemas.microsoft.com/office/drawing/2014/main" id="{D297EC6B-32AF-493A-B2A7-B285C8CEF178}"/>
              </a:ext>
            </a:extLst>
          </p:cNvPr>
          <p:cNvSpPr txBox="1"/>
          <p:nvPr/>
        </p:nvSpPr>
        <p:spPr>
          <a:xfrm>
            <a:off x="1931960" y="976711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10</a:t>
            </a: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3C9B186B-8163-428B-A364-E90D3144B57D}"/>
              </a:ext>
            </a:extLst>
          </p:cNvPr>
          <p:cNvSpPr/>
          <p:nvPr/>
        </p:nvSpPr>
        <p:spPr>
          <a:xfrm>
            <a:off x="5175471" y="1053160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35669B2F-D612-4664-B709-53D98132D57A}"/>
              </a:ext>
            </a:extLst>
          </p:cNvPr>
          <p:cNvSpPr txBox="1"/>
          <p:nvPr/>
        </p:nvSpPr>
        <p:spPr>
          <a:xfrm>
            <a:off x="5472652" y="1001353"/>
            <a:ext cx="15734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9" name="Přímá spojnice 18">
            <a:extLst>
              <a:ext uri="{FF2B5EF4-FFF2-40B4-BE49-F238E27FC236}">
                <a16:creationId xmlns:a16="http://schemas.microsoft.com/office/drawing/2014/main" id="{76B85254-1A7D-488E-9830-3F99A7742F43}"/>
              </a:ext>
            </a:extLst>
          </p:cNvPr>
          <p:cNvCxnSpPr>
            <a:cxnSpLocks/>
          </p:cNvCxnSpPr>
          <p:nvPr/>
        </p:nvCxnSpPr>
        <p:spPr>
          <a:xfrm>
            <a:off x="1637215" y="1131746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7DE1342D-EB8B-4B07-AF76-9D71853830EC}"/>
              </a:ext>
            </a:extLst>
          </p:cNvPr>
          <p:cNvSpPr txBox="1"/>
          <p:nvPr/>
        </p:nvSpPr>
        <p:spPr>
          <a:xfrm>
            <a:off x="1931960" y="1201931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0</a:t>
            </a:r>
          </a:p>
        </p:txBody>
      </p: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E4706C2C-C343-4CD4-BC4A-ED6979CFCE85}"/>
              </a:ext>
            </a:extLst>
          </p:cNvPr>
          <p:cNvCxnSpPr>
            <a:cxnSpLocks/>
          </p:cNvCxnSpPr>
          <p:nvPr/>
        </p:nvCxnSpPr>
        <p:spPr>
          <a:xfrm>
            <a:off x="1637215" y="1355053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24">
            <a:extLst>
              <a:ext uri="{FF2B5EF4-FFF2-40B4-BE49-F238E27FC236}">
                <a16:creationId xmlns:a16="http://schemas.microsoft.com/office/drawing/2014/main" id="{E453CAE8-274D-40EB-837F-1DFE06B3FC2E}"/>
              </a:ext>
            </a:extLst>
          </p:cNvPr>
          <p:cNvCxnSpPr>
            <a:cxnSpLocks/>
          </p:cNvCxnSpPr>
          <p:nvPr/>
        </p:nvCxnSpPr>
        <p:spPr>
          <a:xfrm>
            <a:off x="1637215" y="1583552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66CCB7E5-B893-4905-A783-B3A264BEFB90}"/>
              </a:ext>
            </a:extLst>
          </p:cNvPr>
          <p:cNvSpPr txBox="1"/>
          <p:nvPr/>
        </p:nvSpPr>
        <p:spPr>
          <a:xfrm>
            <a:off x="9546722" y="2199307"/>
            <a:ext cx="1945049" cy="100027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b="1" dirty="0">
                <a:solidFill>
                  <a:prstClr val="black"/>
                </a:solidFill>
                <a:latin typeface="Calibri" panose="020F0502020204030204"/>
              </a:rPr>
              <a:t>18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7. 2021</a:t>
            </a:r>
          </a:p>
          <a:p>
            <a:pPr lvl="0" algn="r"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7denní </a:t>
            </a:r>
            <a:r>
              <a:rPr lang="cs-CZ" sz="1100" dirty="0" err="1">
                <a:solidFill>
                  <a:prstClr val="black"/>
                </a:solidFill>
                <a:latin typeface="Calibri" panose="020F0502020204030204"/>
              </a:rPr>
              <a:t>kum</a:t>
            </a: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. počet na 100 tis.)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42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9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2 na 100 tisíc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266137AA-9182-40A3-A142-5179882050AD}"/>
              </a:ext>
            </a:extLst>
          </p:cNvPr>
          <p:cNvSpPr txBox="1"/>
          <p:nvPr/>
        </p:nvSpPr>
        <p:spPr>
          <a:xfrm>
            <a:off x="1924103" y="1434256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70</a:t>
            </a:r>
          </a:p>
          <a:p>
            <a:pPr lvl="0"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scénáře ze dne 1. 6. 2021, R aplikováno od 24. 5. 2021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E32A18E1-478B-49B3-B19F-744DF92D3F6C}"/>
              </a:ext>
            </a:extLst>
          </p:cNvPr>
          <p:cNvSpPr txBox="1"/>
          <p:nvPr/>
        </p:nvSpPr>
        <p:spPr>
          <a:xfrm>
            <a:off x="7273125" y="2199307"/>
            <a:ext cx="1945048" cy="100027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b="1" dirty="0">
                <a:solidFill>
                  <a:prstClr val="black"/>
                </a:solidFill>
                <a:latin typeface="Calibri" panose="020F0502020204030204"/>
              </a:rPr>
              <a:t>30. 6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2021 </a:t>
            </a:r>
            <a:b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7denní </a:t>
            </a:r>
            <a:r>
              <a:rPr lang="cs-CZ" sz="1100" dirty="0" err="1">
                <a:solidFill>
                  <a:prstClr val="black"/>
                </a:solidFill>
                <a:latin typeface="Calibri" panose="020F0502020204030204"/>
              </a:rPr>
              <a:t>kum</a:t>
            </a: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. počet na 100 tis.)</a:t>
            </a:r>
            <a:endParaRPr kumimoji="0" lang="cs-CZ" sz="12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30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11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4 na 100 tisíc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30" name="TextBox 6">
            <a:extLst>
              <a:ext uri="{FF2B5EF4-FFF2-40B4-BE49-F238E27FC236}">
                <a16:creationId xmlns:a16="http://schemas.microsoft.com/office/drawing/2014/main" id="{8B058FAD-246D-4FB5-9A38-9461A45D5931}"/>
              </a:ext>
            </a:extLst>
          </p:cNvPr>
          <p:cNvSpPr txBox="1"/>
          <p:nvPr/>
        </p:nvSpPr>
        <p:spPr>
          <a:xfrm rot="16200000">
            <a:off x="-1483263" y="3360473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2AE1522-C017-42C8-A5BD-E7F3E887F3AA}"/>
              </a:ext>
            </a:extLst>
          </p:cNvPr>
          <p:cNvSpPr txBox="1"/>
          <p:nvPr/>
        </p:nvSpPr>
        <p:spPr>
          <a:xfrm>
            <a:off x="7780712" y="1826572"/>
            <a:ext cx="29732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i="1" dirty="0"/>
              <a:t>Predikované hodnoty </a:t>
            </a:r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C2CDA8BD-006D-42A8-BA88-064DA323F845}"/>
              </a:ext>
            </a:extLst>
          </p:cNvPr>
          <p:cNvSpPr txBox="1"/>
          <p:nvPr/>
        </p:nvSpPr>
        <p:spPr>
          <a:xfrm>
            <a:off x="11558187" y="3553360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00" b="1" dirty="0">
                <a:latin typeface="Calibri" panose="020F0502020204030204" pitchFamily="34" charset="0"/>
                <a:cs typeface="Calibri" panose="020F0502020204030204" pitchFamily="34" charset="0"/>
              </a:rPr>
              <a:t>100</a:t>
            </a:r>
          </a:p>
          <a:p>
            <a:r>
              <a:rPr lang="cs-CZ" sz="800" dirty="0">
                <a:latin typeface="Calibri" panose="020F0502020204030204" pitchFamily="34" charset="0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5B77FD62-F375-40BF-A635-0F86D4274581}"/>
              </a:ext>
            </a:extLst>
          </p:cNvPr>
          <p:cNvSpPr txBox="1"/>
          <p:nvPr/>
        </p:nvSpPr>
        <p:spPr>
          <a:xfrm>
            <a:off x="11577452" y="4621660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00" b="1" dirty="0">
                <a:latin typeface="Calibri" panose="020F0502020204030204" pitchFamily="34" charset="0"/>
                <a:cs typeface="Calibri" panose="020F0502020204030204" pitchFamily="34" charset="0"/>
              </a:rPr>
              <a:t>50</a:t>
            </a:r>
          </a:p>
          <a:p>
            <a:r>
              <a:rPr lang="cs-CZ" sz="800" dirty="0">
                <a:latin typeface="Calibri" panose="020F0502020204030204" pitchFamily="34" charset="0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31" name="Nadpis 1">
            <a:extLst>
              <a:ext uri="{FF2B5EF4-FFF2-40B4-BE49-F238E27FC236}">
                <a16:creationId xmlns:a16="http://schemas.microsoft.com/office/drawing/2014/main" id="{CFCC2C02-F284-4941-91C6-5CC2566B6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en-US" sz="1800" dirty="0" err="1">
                <a:latin typeface="+mj-lt"/>
              </a:rPr>
              <a:t>Modelov</a:t>
            </a:r>
            <a:r>
              <a:rPr lang="cs-CZ" sz="1800" dirty="0">
                <a:latin typeface="+mj-lt"/>
              </a:rPr>
              <a:t>é scénáře: 7denní hodnoty na 100 tisíc obyvatel:</a:t>
            </a:r>
            <a:br>
              <a:rPr lang="cs-CZ" sz="1800" dirty="0">
                <a:latin typeface="+mj-lt"/>
              </a:rPr>
            </a:br>
            <a:r>
              <a:rPr lang="cs-CZ" sz="1800" dirty="0"/>
              <a:t>Pardubický kraj</a:t>
            </a:r>
            <a:endParaRPr lang="cs-CZ" sz="1800" dirty="0">
              <a:latin typeface="+mj-lt"/>
            </a:endParaRPr>
          </a:p>
        </p:txBody>
      </p: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EE744899-4831-4573-9408-495F16CA9A16}"/>
              </a:ext>
            </a:extLst>
          </p:cNvPr>
          <p:cNvSpPr txBox="1"/>
          <p:nvPr/>
        </p:nvSpPr>
        <p:spPr>
          <a:xfrm>
            <a:off x="228000" y="6456056"/>
            <a:ext cx="1173470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100" dirty="0">
                <a:solidFill>
                  <a:schemeClr val="accent1"/>
                </a:solidFill>
              </a:rPr>
              <a:t>Hodnota celorepublikového modelu byla lokalizovaná do příslušného kraje se zohledněním trendu nárůstu ve dnech 24. 5. až 31. 5.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CF377A2F-C0A0-43DA-9280-A19B6E371AAC}"/>
              </a:ext>
            </a:extLst>
          </p:cNvPr>
          <p:cNvGrpSpPr/>
          <p:nvPr/>
        </p:nvGrpSpPr>
        <p:grpSpPr>
          <a:xfrm>
            <a:off x="11058210" y="649226"/>
            <a:ext cx="1025315" cy="265174"/>
            <a:chOff x="12375318" y="5014932"/>
            <a:chExt cx="2087955" cy="540000"/>
          </a:xfrm>
        </p:grpSpPr>
        <p:pic>
          <p:nvPicPr>
            <p:cNvPr id="33" name="Obrázek 32">
              <a:extLst>
                <a:ext uri="{FF2B5EF4-FFF2-40B4-BE49-F238E27FC236}">
                  <a16:creationId xmlns:a16="http://schemas.microsoft.com/office/drawing/2014/main" id="{96CE1EA5-E85C-4BA1-A52A-9C4BEA2AE2C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2375318" y="5047046"/>
              <a:ext cx="373253" cy="468000"/>
            </a:xfrm>
            <a:prstGeom prst="rect">
              <a:avLst/>
            </a:prstGeom>
          </p:spPr>
        </p:pic>
        <p:pic>
          <p:nvPicPr>
            <p:cNvPr id="34" name="Obrázek 33">
              <a:extLst>
                <a:ext uri="{FF2B5EF4-FFF2-40B4-BE49-F238E27FC236}">
                  <a16:creationId xmlns:a16="http://schemas.microsoft.com/office/drawing/2014/main" id="{C92DB6C9-71F1-4520-8565-7AC5680D08F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2855762" y="5014932"/>
              <a:ext cx="1607511" cy="540000"/>
            </a:xfrm>
            <a:prstGeom prst="rect">
              <a:avLst/>
            </a:prstGeom>
          </p:spPr>
        </p:pic>
      </p:grp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4B3B19CD-2126-433E-B3C9-7AAA93436D1B}"/>
              </a:ext>
            </a:extLst>
          </p:cNvPr>
          <p:cNvSpPr txBox="1"/>
          <p:nvPr/>
        </p:nvSpPr>
        <p:spPr>
          <a:xfrm>
            <a:off x="5470252" y="1231063"/>
            <a:ext cx="194504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pl-PL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 uzavřenému dni 27. 6. 2021</a:t>
            </a: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12122709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B1276870-99EE-4D94-8977-D4A2442A6BF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64874218"/>
              </p:ext>
            </p:extLst>
          </p:nvPr>
        </p:nvGraphicFramePr>
        <p:xfrm>
          <a:off x="556549" y="3273786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399F9D63-C378-4018-B97A-C6FF1B38BBF2}"/>
              </a:ext>
            </a:extLst>
          </p:cNvPr>
          <p:cNvSpPr txBox="1"/>
          <p:nvPr/>
        </p:nvSpPr>
        <p:spPr>
          <a:xfrm>
            <a:off x="214075" y="1050497"/>
            <a:ext cx="38671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 dle hodnoty reprodukčního čísla 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69B8FCCD-AB42-495D-8900-E0EDAF4D3695}"/>
              </a:ext>
            </a:extLst>
          </p:cNvPr>
          <p:cNvSpPr txBox="1"/>
          <p:nvPr/>
        </p:nvSpPr>
        <p:spPr>
          <a:xfrm>
            <a:off x="4792918" y="638978"/>
            <a:ext cx="5031486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vý scénář (R = 1,10)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915432FB-02C6-4A48-823E-AAFFD38F04CD}"/>
              </a:ext>
            </a:extLst>
          </p:cNvPr>
          <p:cNvSpPr txBox="1"/>
          <p:nvPr/>
        </p:nvSpPr>
        <p:spPr>
          <a:xfrm>
            <a:off x="4792918" y="1947883"/>
            <a:ext cx="5031486" cy="369332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zpomalení (R = 0,70)</a:t>
            </a:r>
          </a:p>
        </p:txBody>
      </p:sp>
      <p:cxnSp>
        <p:nvCxnSpPr>
          <p:cNvPr id="10" name="Přímá spojnice se šipkou 9">
            <a:extLst>
              <a:ext uri="{FF2B5EF4-FFF2-40B4-BE49-F238E27FC236}">
                <a16:creationId xmlns:a16="http://schemas.microsoft.com/office/drawing/2014/main" id="{2FBBF0DE-751C-4A8D-9688-745F518DEA63}"/>
              </a:ext>
            </a:extLst>
          </p:cNvPr>
          <p:cNvCxnSpPr/>
          <p:nvPr/>
        </p:nvCxnSpPr>
        <p:spPr>
          <a:xfrm flipV="1">
            <a:off x="4154743" y="864532"/>
            <a:ext cx="523875" cy="56949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Přímá spojnice se šipkou 10">
            <a:extLst>
              <a:ext uri="{FF2B5EF4-FFF2-40B4-BE49-F238E27FC236}">
                <a16:creationId xmlns:a16="http://schemas.microsoft.com/office/drawing/2014/main" id="{427BD7B2-178E-45A0-B634-921C0C8A629F}"/>
              </a:ext>
            </a:extLst>
          </p:cNvPr>
          <p:cNvCxnSpPr/>
          <p:nvPr/>
        </p:nvCxnSpPr>
        <p:spPr>
          <a:xfrm>
            <a:off x="4154743" y="1503447"/>
            <a:ext cx="523875" cy="64073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6">
            <a:extLst>
              <a:ext uri="{FF2B5EF4-FFF2-40B4-BE49-F238E27FC236}">
                <a16:creationId xmlns:a16="http://schemas.microsoft.com/office/drawing/2014/main" id="{69CEF138-18A8-4271-9FEF-402DB7C25B86}"/>
              </a:ext>
            </a:extLst>
          </p:cNvPr>
          <p:cNvSpPr txBox="1"/>
          <p:nvPr/>
        </p:nvSpPr>
        <p:spPr>
          <a:xfrm>
            <a:off x="489851" y="2893021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D297EC6B-32AF-493A-B2A7-B285C8CEF178}"/>
              </a:ext>
            </a:extLst>
          </p:cNvPr>
          <p:cNvSpPr txBox="1"/>
          <p:nvPr/>
        </p:nvSpPr>
        <p:spPr>
          <a:xfrm>
            <a:off x="4475378" y="2789253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10</a:t>
            </a: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3C9B186B-8163-428B-A364-E90D3144B57D}"/>
              </a:ext>
            </a:extLst>
          </p:cNvPr>
          <p:cNvSpPr/>
          <p:nvPr/>
        </p:nvSpPr>
        <p:spPr>
          <a:xfrm>
            <a:off x="7952761" y="2841929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35669B2F-D612-4664-B709-53D98132D57A}"/>
              </a:ext>
            </a:extLst>
          </p:cNvPr>
          <p:cNvSpPr txBox="1"/>
          <p:nvPr/>
        </p:nvSpPr>
        <p:spPr>
          <a:xfrm>
            <a:off x="8249942" y="2790122"/>
            <a:ext cx="15734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9" name="Přímá spojnice 18">
            <a:extLst>
              <a:ext uri="{FF2B5EF4-FFF2-40B4-BE49-F238E27FC236}">
                <a16:creationId xmlns:a16="http://schemas.microsoft.com/office/drawing/2014/main" id="{76B85254-1A7D-488E-9830-3F99A7742F43}"/>
              </a:ext>
            </a:extLst>
          </p:cNvPr>
          <p:cNvCxnSpPr>
            <a:cxnSpLocks/>
          </p:cNvCxnSpPr>
          <p:nvPr/>
        </p:nvCxnSpPr>
        <p:spPr>
          <a:xfrm>
            <a:off x="4180633" y="2944288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7DE1342D-EB8B-4B07-AF76-9D71853830EC}"/>
              </a:ext>
            </a:extLst>
          </p:cNvPr>
          <p:cNvSpPr txBox="1"/>
          <p:nvPr/>
        </p:nvSpPr>
        <p:spPr>
          <a:xfrm>
            <a:off x="4475378" y="3014473"/>
            <a:ext cx="313540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0	</a:t>
            </a:r>
          </a:p>
        </p:txBody>
      </p: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E4706C2C-C343-4CD4-BC4A-ED6979CFCE85}"/>
              </a:ext>
            </a:extLst>
          </p:cNvPr>
          <p:cNvCxnSpPr>
            <a:cxnSpLocks/>
          </p:cNvCxnSpPr>
          <p:nvPr/>
        </p:nvCxnSpPr>
        <p:spPr>
          <a:xfrm>
            <a:off x="4180633" y="3167595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24">
            <a:extLst>
              <a:ext uri="{FF2B5EF4-FFF2-40B4-BE49-F238E27FC236}">
                <a16:creationId xmlns:a16="http://schemas.microsoft.com/office/drawing/2014/main" id="{E453CAE8-274D-40EB-837F-1DFE06B3FC2E}"/>
              </a:ext>
            </a:extLst>
          </p:cNvPr>
          <p:cNvCxnSpPr>
            <a:cxnSpLocks/>
          </p:cNvCxnSpPr>
          <p:nvPr/>
        </p:nvCxnSpPr>
        <p:spPr>
          <a:xfrm>
            <a:off x="4180633" y="3387705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66CCB7E5-B893-4905-A783-B3A264BEFB90}"/>
              </a:ext>
            </a:extLst>
          </p:cNvPr>
          <p:cNvSpPr txBox="1"/>
          <p:nvPr/>
        </p:nvSpPr>
        <p:spPr>
          <a:xfrm>
            <a:off x="10091064" y="3879119"/>
            <a:ext cx="1544387" cy="83099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8. </a:t>
            </a:r>
            <a:r>
              <a:rPr lang="cs-CZ" sz="1200" b="1" dirty="0">
                <a:solidFill>
                  <a:prstClr val="black"/>
                </a:solidFill>
                <a:latin typeface="Calibri" panose="020F0502020204030204"/>
              </a:rPr>
              <a:t>7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2021</a:t>
            </a: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51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10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2 predikovaných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266137AA-9182-40A3-A142-5179882050AD}"/>
              </a:ext>
            </a:extLst>
          </p:cNvPr>
          <p:cNvSpPr txBox="1"/>
          <p:nvPr/>
        </p:nvSpPr>
        <p:spPr>
          <a:xfrm>
            <a:off x="4467521" y="3238409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7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</a:t>
            </a: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6. 2021, R aplikováno od 24. 5. 2021)</a:t>
            </a: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E32A18E1-478B-49B3-B19F-744DF92D3F6C}"/>
              </a:ext>
            </a:extLst>
          </p:cNvPr>
          <p:cNvSpPr txBox="1"/>
          <p:nvPr/>
        </p:nvSpPr>
        <p:spPr>
          <a:xfrm>
            <a:off x="7780712" y="4294618"/>
            <a:ext cx="1544387" cy="83099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b="1" dirty="0">
                <a:solidFill>
                  <a:prstClr val="black"/>
                </a:solidFill>
                <a:latin typeface="Calibri" panose="020F0502020204030204"/>
              </a:rPr>
              <a:t>30. 6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2021</a:t>
            </a: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36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13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4 predikovaných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22" name="Nadpis 1">
            <a:extLst>
              <a:ext uri="{FF2B5EF4-FFF2-40B4-BE49-F238E27FC236}">
                <a16:creationId xmlns:a16="http://schemas.microsoft.com/office/drawing/2014/main" id="{6518D429-51CE-40C1-89F9-ADE1A20304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ce ve třech scénářích: </a:t>
            </a:r>
            <a:r>
              <a:rPr lang="cs-CZ" dirty="0"/>
              <a:t>Kraj Vysočina</a:t>
            </a:r>
            <a:endParaRPr lang="cs-CZ" dirty="0">
              <a:latin typeface="+mj-lt"/>
            </a:endParaRP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02642BDA-1FDB-47A2-98F0-CA96CB016C73}"/>
              </a:ext>
            </a:extLst>
          </p:cNvPr>
          <p:cNvGrpSpPr/>
          <p:nvPr/>
        </p:nvGrpSpPr>
        <p:grpSpPr>
          <a:xfrm>
            <a:off x="11015595" y="639500"/>
            <a:ext cx="1123991" cy="276446"/>
            <a:chOff x="12342906" y="6252118"/>
            <a:chExt cx="1866242" cy="459003"/>
          </a:xfrm>
        </p:grpSpPr>
        <p:pic>
          <p:nvPicPr>
            <p:cNvPr id="30" name="Obrázek 29">
              <a:extLst>
                <a:ext uri="{FF2B5EF4-FFF2-40B4-BE49-F238E27FC236}">
                  <a16:creationId xmlns:a16="http://schemas.microsoft.com/office/drawing/2014/main" id="{661A478B-313E-4DF4-805B-E2DD7B1A71A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342906" y="6252118"/>
              <a:ext cx="402855" cy="459003"/>
            </a:xfrm>
            <a:prstGeom prst="rect">
              <a:avLst/>
            </a:prstGeom>
          </p:spPr>
        </p:pic>
        <p:pic>
          <p:nvPicPr>
            <p:cNvPr id="31" name="Obrázek 30">
              <a:extLst>
                <a:ext uri="{FF2B5EF4-FFF2-40B4-BE49-F238E27FC236}">
                  <a16:creationId xmlns:a16="http://schemas.microsoft.com/office/drawing/2014/main" id="{9EB01192-C0C6-43BD-A9B4-27A4329DA28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855762" y="6252118"/>
              <a:ext cx="1353386" cy="433584"/>
            </a:xfrm>
            <a:prstGeom prst="rect">
              <a:avLst/>
            </a:prstGeom>
          </p:spPr>
        </p:pic>
      </p:grp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35D764C2-82E9-4B95-8701-56C9C2A347CE}"/>
              </a:ext>
            </a:extLst>
          </p:cNvPr>
          <p:cNvSpPr txBox="1"/>
          <p:nvPr/>
        </p:nvSpPr>
        <p:spPr>
          <a:xfrm>
            <a:off x="8249942" y="3001602"/>
            <a:ext cx="194504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pl-PL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 uzavřenému dni 27. 6. 2021</a:t>
            </a: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59220111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ulka 9">
            <a:extLst>
              <a:ext uri="{FF2B5EF4-FFF2-40B4-BE49-F238E27FC236}">
                <a16:creationId xmlns:a16="http://schemas.microsoft.com/office/drawing/2014/main" id="{2CDF3C9D-B366-482C-9DEE-848BF9D72A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0473027"/>
              </p:ext>
            </p:extLst>
          </p:nvPr>
        </p:nvGraphicFramePr>
        <p:xfrm>
          <a:off x="45720" y="1318054"/>
          <a:ext cx="12108951" cy="5019468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18422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3468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93810515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272550134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889585356"/>
                    </a:ext>
                  </a:extLst>
                </a:gridCol>
                <a:gridCol w="1116000">
                  <a:extLst>
                    <a:ext uri="{9D8B030D-6E8A-4147-A177-3AD203B41FA5}">
                      <a16:colId xmlns:a16="http://schemas.microsoft.com/office/drawing/2014/main" val="3083214646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487868241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891010204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340384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264344487"/>
                    </a:ext>
                  </a:extLst>
                </a:gridCol>
                <a:gridCol w="1008000">
                  <a:extLst>
                    <a:ext uri="{9D8B030D-6E8A-4147-A177-3AD203B41FA5}">
                      <a16:colId xmlns:a16="http://schemas.microsoft.com/office/drawing/2014/main" val="13148050"/>
                    </a:ext>
                  </a:extLst>
                </a:gridCol>
                <a:gridCol w="1008000">
                  <a:extLst>
                    <a:ext uri="{9D8B030D-6E8A-4147-A177-3AD203B41FA5}">
                      <a16:colId xmlns:a16="http://schemas.microsoft.com/office/drawing/2014/main" val="1091220691"/>
                    </a:ext>
                  </a:extLst>
                </a:gridCol>
              </a:tblGrid>
              <a:tr h="822960">
                <a:tc>
                  <a:txBody>
                    <a:bodyPr/>
                    <a:lstStyle/>
                    <a:p>
                      <a:pPr algn="l"/>
                      <a:endParaRPr lang="cs-CZ" sz="16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cs-CZ" sz="1600" u="sng" dirty="0"/>
                        <a:t>Predikovaný celkový počet</a:t>
                      </a:r>
                      <a:r>
                        <a:rPr lang="cs-CZ" sz="1600" u="none" dirty="0"/>
                        <a:t> </a:t>
                      </a:r>
                      <a:br>
                        <a:rPr lang="cs-CZ" sz="1600" u="none" dirty="0"/>
                      </a:br>
                      <a:r>
                        <a:rPr lang="cs-CZ" sz="1600" u="none" dirty="0"/>
                        <a:t>N</a:t>
                      </a:r>
                      <a:r>
                        <a:rPr lang="cs-CZ" sz="1600" dirty="0"/>
                        <a:t>ově prokázané nákazy COVID-19</a:t>
                      </a:r>
                      <a:endParaRPr lang="cs-CZ" sz="1600" b="1" dirty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alita: naměřené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odnot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u="sng" dirty="0"/>
                        <a:t>Predikovaný průměrný denní počet</a:t>
                      </a:r>
                      <a:r>
                        <a:rPr lang="cs-CZ" sz="1600" dirty="0"/>
                        <a:t> Nově prokázané nákazy COVID-19</a:t>
                      </a:r>
                      <a:endParaRPr lang="cs-CZ" sz="16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600" b="1" dirty="0"/>
                        <a:t>Realita: naměřené</a:t>
                      </a:r>
                    </a:p>
                    <a:p>
                      <a:pPr algn="ctr"/>
                      <a:r>
                        <a:rPr lang="cs-CZ" sz="1600" b="1" dirty="0"/>
                        <a:t>hodnoty</a:t>
                      </a:r>
                      <a:endParaRPr lang="en-US" sz="16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16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87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odnota R</a:t>
                      </a:r>
                      <a:br>
                        <a:rPr lang="cs-CZ" sz="16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od 24</a:t>
                      </a:r>
                      <a:r>
                        <a:rPr lang="en-US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r>
                        <a:rPr lang="cs-CZ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5.)</a:t>
                      </a:r>
                      <a:endParaRPr lang="cs-CZ" sz="16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7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8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9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,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</a:t>
                      </a:r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FF"/>
                        </a:highlight>
                        <a:latin typeface="+mj-lt"/>
                      </a:endParaRP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7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8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9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,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</a:t>
                      </a:r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FF"/>
                        </a:highlight>
                        <a:latin typeface="+mj-lt"/>
                      </a:endParaRP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highlight>
                            <a:srgbClr val="FFFFFF"/>
                          </a:highlight>
                        </a:rPr>
                        <a:t>denní průměr včetně víkendů</a:t>
                      </a:r>
                      <a:endParaRPr lang="en-US" sz="1200" dirty="0">
                        <a:highlight>
                          <a:srgbClr val="FFFFFF"/>
                        </a:highlight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highlight>
                            <a:srgbClr val="FFFFFF"/>
                          </a:highlight>
                        </a:rPr>
                        <a:t>denní průměr v pracovních dnech</a:t>
                      </a:r>
                      <a:endParaRPr lang="cs-CZ" sz="1200" dirty="0">
                        <a:highlight>
                          <a:srgbClr val="FFFFFF"/>
                        </a:highlight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8491739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indent="0" algn="l" fontAlgn="b"/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  <a:r>
                        <a:rPr lang="cs-CZ" sz="1450" b="1" u="none" strike="noStrike" dirty="0">
                          <a:effectLst/>
                        </a:rPr>
                        <a:t>.–13. 6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 tisíce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 tisíce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6621032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50" u="none" strike="noStrike" dirty="0">
                          <a:effectLst/>
                        </a:rPr>
                        <a:t>Období </a:t>
                      </a:r>
                      <a:r>
                        <a:rPr lang="cs-CZ" sz="1450" b="1" u="none" strike="noStrike" dirty="0">
                          <a:effectLst/>
                        </a:rPr>
                        <a:t>14.–20. 6.</a:t>
                      </a:r>
                      <a:endParaRPr lang="cs-CZ" sz="14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 tisíce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 tisíce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62736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1</a:t>
                      </a:r>
                      <a:r>
                        <a:rPr lang="cs-CZ" sz="1450" b="1" u="none" strike="noStrike" dirty="0">
                          <a:effectLst/>
                        </a:rPr>
                        <a:t>.–27. 6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 tisíce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3466947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indent="0" algn="l" fontAlgn="b"/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8. 6.</a:t>
                      </a:r>
                      <a:r>
                        <a:rPr lang="cs-CZ" sz="1450" b="1" u="none" strike="noStrike" dirty="0">
                          <a:effectLst/>
                        </a:rPr>
                        <a:t>–4. 7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 tisíce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7246171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.</a:t>
                      </a:r>
                      <a:r>
                        <a:rPr lang="cs-CZ" sz="1450" b="1" u="none" strike="noStrike" dirty="0">
                          <a:effectLst/>
                        </a:rPr>
                        <a:t>–11. 7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 tisíce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9339872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.</a:t>
                      </a:r>
                      <a:r>
                        <a:rPr lang="cs-CZ" sz="1450" b="1" u="none" strike="noStrike" dirty="0">
                          <a:effectLst/>
                        </a:rPr>
                        <a:t>–18. 7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 tisíce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651041"/>
                  </a:ext>
                </a:extLst>
              </a:tr>
            </a:tbl>
          </a:graphicData>
        </a:graphic>
      </p:graphicFrame>
      <p:sp>
        <p:nvSpPr>
          <p:cNvPr id="9" name="TextovéPole 8">
            <a:extLst>
              <a:ext uri="{FF2B5EF4-FFF2-40B4-BE49-F238E27FC236}">
                <a16:creationId xmlns:a16="http://schemas.microsoft.com/office/drawing/2014/main" id="{E4A0DC13-0AB7-42C0-B44A-C8095E8723E9}"/>
              </a:ext>
            </a:extLst>
          </p:cNvPr>
          <p:cNvSpPr txBox="1"/>
          <p:nvPr/>
        </p:nvSpPr>
        <p:spPr>
          <a:xfrm>
            <a:off x="45720" y="6388483"/>
            <a:ext cx="12090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200" dirty="0">
                <a:solidFill>
                  <a:schemeClr val="accent1"/>
                </a:solidFill>
              </a:rPr>
              <a:t>Predikované počty odpovídají modelovaným hodnotám (kalibrovaným na hodnoty pozorované v pracovních dnech), naměřené hodnoty zahrnují všechny počty hlášené do databáze, včetně potenciálně nižších záchytů nemoci v nepracovních dnech. V případě denního průměrného počtu jsou uvedeny i hodnoty, které zahrnují pouze pracovní dny.</a:t>
            </a:r>
          </a:p>
        </p:txBody>
      </p:sp>
      <p:sp>
        <p:nvSpPr>
          <p:cNvPr id="8" name="Nadpis 1">
            <a:extLst>
              <a:ext uri="{FF2B5EF4-FFF2-40B4-BE49-F238E27FC236}">
                <a16:creationId xmlns:a16="http://schemas.microsoft.com/office/drawing/2014/main" id="{DBBDF33E-D7ED-4B93-A481-745FE41008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558611" cy="576000"/>
          </a:xfrm>
        </p:spPr>
        <p:txBody>
          <a:bodyPr/>
          <a:lstStyle/>
          <a:p>
            <a:r>
              <a:rPr lang="cs-CZ" dirty="0" err="1"/>
              <a:t>Rekalibrace</a:t>
            </a:r>
            <a:r>
              <a:rPr lang="cs-CZ" dirty="0"/>
              <a:t> prediktivního modelu pro </a:t>
            </a:r>
            <a:r>
              <a:rPr lang="cs-CZ" u="sng" dirty="0"/>
              <a:t>nové scénáře</a:t>
            </a:r>
            <a:r>
              <a:rPr lang="cs-CZ" dirty="0"/>
              <a:t>: </a:t>
            </a:r>
            <a:br>
              <a:rPr lang="cs-CZ" dirty="0"/>
            </a:br>
            <a:r>
              <a:rPr lang="cs-CZ" dirty="0"/>
              <a:t>Kraj Vysočina</a:t>
            </a:r>
          </a:p>
        </p:txBody>
      </p:sp>
      <p:grpSp>
        <p:nvGrpSpPr>
          <p:cNvPr id="6" name="Skupina 5">
            <a:extLst>
              <a:ext uri="{FF2B5EF4-FFF2-40B4-BE49-F238E27FC236}">
                <a16:creationId xmlns:a16="http://schemas.microsoft.com/office/drawing/2014/main" id="{E2E38F62-CE29-4542-8CE3-2F098F9323C0}"/>
              </a:ext>
            </a:extLst>
          </p:cNvPr>
          <p:cNvGrpSpPr/>
          <p:nvPr/>
        </p:nvGrpSpPr>
        <p:grpSpPr>
          <a:xfrm>
            <a:off x="11015595" y="954290"/>
            <a:ext cx="1123991" cy="276446"/>
            <a:chOff x="12342906" y="6252118"/>
            <a:chExt cx="1866242" cy="459003"/>
          </a:xfrm>
        </p:grpSpPr>
        <p:pic>
          <p:nvPicPr>
            <p:cNvPr id="7" name="Obrázek 6">
              <a:extLst>
                <a:ext uri="{FF2B5EF4-FFF2-40B4-BE49-F238E27FC236}">
                  <a16:creationId xmlns:a16="http://schemas.microsoft.com/office/drawing/2014/main" id="{12058C7E-C3F2-44A2-9202-DBCEB313051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342906" y="6252118"/>
              <a:ext cx="402855" cy="459003"/>
            </a:xfrm>
            <a:prstGeom prst="rect">
              <a:avLst/>
            </a:prstGeom>
          </p:spPr>
        </p:pic>
        <p:pic>
          <p:nvPicPr>
            <p:cNvPr id="11" name="Obrázek 10">
              <a:extLst>
                <a:ext uri="{FF2B5EF4-FFF2-40B4-BE49-F238E27FC236}">
                  <a16:creationId xmlns:a16="http://schemas.microsoft.com/office/drawing/2014/main" id="{CAD26210-A804-4EC7-8AB6-C564ECEACD3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855762" y="6252118"/>
              <a:ext cx="1353386" cy="433584"/>
            </a:xfrm>
            <a:prstGeom prst="rect">
              <a:avLst/>
            </a:prstGeom>
          </p:spPr>
        </p:pic>
      </p:grp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E55B5805-9E4F-4375-8784-63581CF5D976}"/>
              </a:ext>
            </a:extLst>
          </p:cNvPr>
          <p:cNvSpPr txBox="1"/>
          <p:nvPr/>
        </p:nvSpPr>
        <p:spPr>
          <a:xfrm>
            <a:off x="0" y="576002"/>
            <a:ext cx="1231394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600" b="1" dirty="0">
                <a:solidFill>
                  <a:srgbClr val="000000"/>
                </a:solidFill>
              </a:rPr>
              <a:t>Epidemické křivky vytvořeny pomocí modelu pro krátkodobé predikce ÚZIS ČR, </a:t>
            </a:r>
            <a:r>
              <a:rPr lang="pl-PL" sz="1600" b="1" u="sng" dirty="0">
                <a:solidFill>
                  <a:srgbClr val="000000"/>
                </a:solidFill>
              </a:rPr>
              <a:t>predikce odpovídá údajům z 1. 6. 2021.</a:t>
            </a:r>
            <a:endParaRPr lang="cs-CZ" sz="1600" b="1" u="sng" dirty="0">
              <a:solidFill>
                <a:srgbClr val="000000"/>
              </a:solidFill>
            </a:endParaRPr>
          </a:p>
          <a:p>
            <a:pPr lvl="0">
              <a:defRPr/>
            </a:pPr>
            <a:r>
              <a:rPr lang="cs-CZ" sz="1200" b="1" dirty="0">
                <a:solidFill>
                  <a:srgbClr val="000000"/>
                </a:solidFill>
              </a:rPr>
              <a:t>Hodnota celorepublikového modelu byla lokalizovaná do příslušného kraje se zohledněním trendu nárůstu ve </a:t>
            </a:r>
            <a:r>
              <a:rPr lang="pl-PL" sz="1200" b="1" dirty="0">
                <a:solidFill>
                  <a:srgbClr val="000000"/>
                </a:solidFill>
              </a:rPr>
              <a:t>dnech 24. 5. až 31. 5.</a:t>
            </a:r>
          </a:p>
          <a:p>
            <a:pPr lvl="0">
              <a:defRPr/>
            </a:pPr>
            <a:r>
              <a:rPr lang="cs-CZ" sz="1200" b="1" dirty="0">
                <a:solidFill>
                  <a:srgbClr val="000000"/>
                </a:solidFill>
              </a:rPr>
              <a:t>Naměřené hodnoty jsou aktuální </a:t>
            </a:r>
            <a:r>
              <a:rPr lang="pl-PL" sz="1200" b="1" dirty="0">
                <a:solidFill>
                  <a:srgbClr val="000000"/>
                </a:solidFill>
              </a:rPr>
              <a:t>k uzavřenému dni 27. 6. 2021</a:t>
            </a:r>
            <a:r>
              <a:rPr lang="cs-CZ" sz="1200" b="1" dirty="0">
                <a:solidFill>
                  <a:srgbClr val="000000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66739884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B1276870-99EE-4D94-8977-D4A2442A6BF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74844549"/>
              </p:ext>
            </p:extLst>
          </p:nvPr>
        </p:nvGraphicFramePr>
        <p:xfrm>
          <a:off x="556549" y="867747"/>
          <a:ext cx="11354940" cy="5955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5" name="TextovéPole 14">
            <a:extLst>
              <a:ext uri="{FF2B5EF4-FFF2-40B4-BE49-F238E27FC236}">
                <a16:creationId xmlns:a16="http://schemas.microsoft.com/office/drawing/2014/main" id="{D297EC6B-32AF-493A-B2A7-B285C8CEF178}"/>
              </a:ext>
            </a:extLst>
          </p:cNvPr>
          <p:cNvSpPr txBox="1"/>
          <p:nvPr/>
        </p:nvSpPr>
        <p:spPr>
          <a:xfrm>
            <a:off x="1931960" y="976711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10</a:t>
            </a: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3C9B186B-8163-428B-A364-E90D3144B57D}"/>
              </a:ext>
            </a:extLst>
          </p:cNvPr>
          <p:cNvSpPr/>
          <p:nvPr/>
        </p:nvSpPr>
        <p:spPr>
          <a:xfrm>
            <a:off x="5175471" y="1053160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35669B2F-D612-4664-B709-53D98132D57A}"/>
              </a:ext>
            </a:extLst>
          </p:cNvPr>
          <p:cNvSpPr txBox="1"/>
          <p:nvPr/>
        </p:nvSpPr>
        <p:spPr>
          <a:xfrm>
            <a:off x="5472652" y="1001353"/>
            <a:ext cx="15734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9" name="Přímá spojnice 18">
            <a:extLst>
              <a:ext uri="{FF2B5EF4-FFF2-40B4-BE49-F238E27FC236}">
                <a16:creationId xmlns:a16="http://schemas.microsoft.com/office/drawing/2014/main" id="{76B85254-1A7D-488E-9830-3F99A7742F43}"/>
              </a:ext>
            </a:extLst>
          </p:cNvPr>
          <p:cNvCxnSpPr>
            <a:cxnSpLocks/>
          </p:cNvCxnSpPr>
          <p:nvPr/>
        </p:nvCxnSpPr>
        <p:spPr>
          <a:xfrm>
            <a:off x="1637215" y="1131746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7DE1342D-EB8B-4B07-AF76-9D71853830EC}"/>
              </a:ext>
            </a:extLst>
          </p:cNvPr>
          <p:cNvSpPr txBox="1"/>
          <p:nvPr/>
        </p:nvSpPr>
        <p:spPr>
          <a:xfrm>
            <a:off x="1931960" y="1201931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0</a:t>
            </a:r>
          </a:p>
        </p:txBody>
      </p: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E4706C2C-C343-4CD4-BC4A-ED6979CFCE85}"/>
              </a:ext>
            </a:extLst>
          </p:cNvPr>
          <p:cNvCxnSpPr>
            <a:cxnSpLocks/>
          </p:cNvCxnSpPr>
          <p:nvPr/>
        </p:nvCxnSpPr>
        <p:spPr>
          <a:xfrm>
            <a:off x="1637215" y="1355053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24">
            <a:extLst>
              <a:ext uri="{FF2B5EF4-FFF2-40B4-BE49-F238E27FC236}">
                <a16:creationId xmlns:a16="http://schemas.microsoft.com/office/drawing/2014/main" id="{E453CAE8-274D-40EB-837F-1DFE06B3FC2E}"/>
              </a:ext>
            </a:extLst>
          </p:cNvPr>
          <p:cNvCxnSpPr>
            <a:cxnSpLocks/>
          </p:cNvCxnSpPr>
          <p:nvPr/>
        </p:nvCxnSpPr>
        <p:spPr>
          <a:xfrm>
            <a:off x="1637215" y="1583552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66CCB7E5-B893-4905-A783-B3A264BEFB90}"/>
              </a:ext>
            </a:extLst>
          </p:cNvPr>
          <p:cNvSpPr txBox="1"/>
          <p:nvPr/>
        </p:nvSpPr>
        <p:spPr>
          <a:xfrm>
            <a:off x="9546722" y="2199307"/>
            <a:ext cx="1945049" cy="100027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b="1" dirty="0">
                <a:solidFill>
                  <a:prstClr val="black"/>
                </a:solidFill>
                <a:latin typeface="Calibri" panose="020F0502020204030204"/>
              </a:rPr>
              <a:t>18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7. 2021</a:t>
            </a:r>
          </a:p>
          <a:p>
            <a:pPr lvl="0" algn="r"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7denní </a:t>
            </a:r>
            <a:r>
              <a:rPr lang="cs-CZ" sz="1100" dirty="0" err="1">
                <a:solidFill>
                  <a:prstClr val="black"/>
                </a:solidFill>
                <a:latin typeface="Calibri" panose="020F0502020204030204"/>
              </a:rPr>
              <a:t>kum</a:t>
            </a: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. počet na 100 tis.)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66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15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3 na 100 tisíc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266137AA-9182-40A3-A142-5179882050AD}"/>
              </a:ext>
            </a:extLst>
          </p:cNvPr>
          <p:cNvSpPr txBox="1"/>
          <p:nvPr/>
        </p:nvSpPr>
        <p:spPr>
          <a:xfrm>
            <a:off x="1924103" y="1434256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70</a:t>
            </a:r>
          </a:p>
          <a:p>
            <a:pPr lvl="0"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scénáře ze dne 1. 6. 2021, R aplikováno od 24. 5. 2021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E32A18E1-478B-49B3-B19F-744DF92D3F6C}"/>
              </a:ext>
            </a:extLst>
          </p:cNvPr>
          <p:cNvSpPr txBox="1"/>
          <p:nvPr/>
        </p:nvSpPr>
        <p:spPr>
          <a:xfrm>
            <a:off x="7273125" y="2199307"/>
            <a:ext cx="1945048" cy="100027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b="1" dirty="0">
                <a:solidFill>
                  <a:prstClr val="black"/>
                </a:solidFill>
                <a:latin typeface="Calibri" panose="020F0502020204030204"/>
              </a:rPr>
              <a:t>30. 6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2021 </a:t>
            </a:r>
            <a:b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7denní </a:t>
            </a:r>
            <a:r>
              <a:rPr lang="cs-CZ" sz="1100" dirty="0" err="1">
                <a:solidFill>
                  <a:prstClr val="black"/>
                </a:solidFill>
                <a:latin typeface="Calibri" panose="020F0502020204030204"/>
              </a:rPr>
              <a:t>kum</a:t>
            </a: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. počet na 100 tis.)</a:t>
            </a:r>
            <a:endParaRPr kumimoji="0" lang="cs-CZ" sz="12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47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18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6 na 100 tisíc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30" name="TextBox 6">
            <a:extLst>
              <a:ext uri="{FF2B5EF4-FFF2-40B4-BE49-F238E27FC236}">
                <a16:creationId xmlns:a16="http://schemas.microsoft.com/office/drawing/2014/main" id="{8B058FAD-246D-4FB5-9A38-9461A45D5931}"/>
              </a:ext>
            </a:extLst>
          </p:cNvPr>
          <p:cNvSpPr txBox="1"/>
          <p:nvPr/>
        </p:nvSpPr>
        <p:spPr>
          <a:xfrm rot="16200000">
            <a:off x="-1483263" y="3360473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2AE1522-C017-42C8-A5BD-E7F3E887F3AA}"/>
              </a:ext>
            </a:extLst>
          </p:cNvPr>
          <p:cNvSpPr txBox="1"/>
          <p:nvPr/>
        </p:nvSpPr>
        <p:spPr>
          <a:xfrm>
            <a:off x="7780712" y="1826572"/>
            <a:ext cx="29732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i="1" dirty="0"/>
              <a:t>Predikované hodnoty </a:t>
            </a:r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C2CDA8BD-006D-42A8-BA88-064DA323F845}"/>
              </a:ext>
            </a:extLst>
          </p:cNvPr>
          <p:cNvSpPr txBox="1"/>
          <p:nvPr/>
        </p:nvSpPr>
        <p:spPr>
          <a:xfrm>
            <a:off x="11635451" y="3921790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00" b="1" dirty="0">
                <a:latin typeface="Calibri" panose="020F0502020204030204" pitchFamily="34" charset="0"/>
                <a:cs typeface="Calibri" panose="020F0502020204030204" pitchFamily="34" charset="0"/>
              </a:rPr>
              <a:t>100</a:t>
            </a:r>
          </a:p>
          <a:p>
            <a:r>
              <a:rPr lang="cs-CZ" sz="800" dirty="0">
                <a:latin typeface="Calibri" panose="020F0502020204030204" pitchFamily="34" charset="0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5B77FD62-F375-40BF-A635-0F86D4274581}"/>
              </a:ext>
            </a:extLst>
          </p:cNvPr>
          <p:cNvSpPr txBox="1"/>
          <p:nvPr/>
        </p:nvSpPr>
        <p:spPr>
          <a:xfrm>
            <a:off x="11635450" y="4819591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00" b="1" dirty="0">
                <a:latin typeface="Calibri" panose="020F0502020204030204" pitchFamily="34" charset="0"/>
                <a:cs typeface="Calibri" panose="020F0502020204030204" pitchFamily="34" charset="0"/>
              </a:rPr>
              <a:t>50</a:t>
            </a:r>
          </a:p>
          <a:p>
            <a:r>
              <a:rPr lang="cs-CZ" sz="800" dirty="0">
                <a:latin typeface="Calibri" panose="020F0502020204030204" pitchFamily="34" charset="0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31" name="Nadpis 1">
            <a:extLst>
              <a:ext uri="{FF2B5EF4-FFF2-40B4-BE49-F238E27FC236}">
                <a16:creationId xmlns:a16="http://schemas.microsoft.com/office/drawing/2014/main" id="{CFCC2C02-F284-4941-91C6-5CC2566B6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en-US" sz="1800" dirty="0" err="1">
                <a:latin typeface="+mj-lt"/>
              </a:rPr>
              <a:t>Modelov</a:t>
            </a:r>
            <a:r>
              <a:rPr lang="cs-CZ" sz="1800" dirty="0">
                <a:latin typeface="+mj-lt"/>
              </a:rPr>
              <a:t>é scénáře: 7denní hodnoty na 100 tisíc obyvatel:</a:t>
            </a:r>
            <a:br>
              <a:rPr lang="cs-CZ" sz="1800" dirty="0">
                <a:latin typeface="+mj-lt"/>
              </a:rPr>
            </a:br>
            <a:r>
              <a:rPr lang="cs-CZ" sz="1800" dirty="0"/>
              <a:t>Kraj Vysočina</a:t>
            </a:r>
            <a:endParaRPr lang="cs-CZ" sz="1800" dirty="0">
              <a:latin typeface="+mj-lt"/>
            </a:endParaRPr>
          </a:p>
        </p:txBody>
      </p: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EE744899-4831-4573-9408-495F16CA9A16}"/>
              </a:ext>
            </a:extLst>
          </p:cNvPr>
          <p:cNvSpPr txBox="1"/>
          <p:nvPr/>
        </p:nvSpPr>
        <p:spPr>
          <a:xfrm>
            <a:off x="228000" y="6456056"/>
            <a:ext cx="1173470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100" dirty="0">
                <a:solidFill>
                  <a:schemeClr val="accent1"/>
                </a:solidFill>
              </a:rPr>
              <a:t>Hodnota celorepublikového modelu byla lokalizovaná do příslušného kraje se zohledněním trendu nárůstu ve dnech 24. 5. až 31. 5.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8EC53EB4-047F-4BDD-9F41-C7898B74C223}"/>
              </a:ext>
            </a:extLst>
          </p:cNvPr>
          <p:cNvGrpSpPr/>
          <p:nvPr/>
        </p:nvGrpSpPr>
        <p:grpSpPr>
          <a:xfrm>
            <a:off x="11015595" y="639500"/>
            <a:ext cx="1123991" cy="276446"/>
            <a:chOff x="12342906" y="6252118"/>
            <a:chExt cx="1866242" cy="459003"/>
          </a:xfrm>
        </p:grpSpPr>
        <p:pic>
          <p:nvPicPr>
            <p:cNvPr id="33" name="Obrázek 32">
              <a:extLst>
                <a:ext uri="{FF2B5EF4-FFF2-40B4-BE49-F238E27FC236}">
                  <a16:creationId xmlns:a16="http://schemas.microsoft.com/office/drawing/2014/main" id="{076E9F58-02CD-47B0-ACBE-3019FA90CF5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342906" y="6252118"/>
              <a:ext cx="402855" cy="459003"/>
            </a:xfrm>
            <a:prstGeom prst="rect">
              <a:avLst/>
            </a:prstGeom>
          </p:spPr>
        </p:pic>
        <p:pic>
          <p:nvPicPr>
            <p:cNvPr id="34" name="Obrázek 33">
              <a:extLst>
                <a:ext uri="{FF2B5EF4-FFF2-40B4-BE49-F238E27FC236}">
                  <a16:creationId xmlns:a16="http://schemas.microsoft.com/office/drawing/2014/main" id="{6F5A6C2A-6C78-4598-A1BB-FA9E298C7A6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855762" y="6252118"/>
              <a:ext cx="1353386" cy="433584"/>
            </a:xfrm>
            <a:prstGeom prst="rect">
              <a:avLst/>
            </a:prstGeom>
          </p:spPr>
        </p:pic>
      </p:grp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81B89730-318D-40A9-A51E-039ADE4A46A3}"/>
              </a:ext>
            </a:extLst>
          </p:cNvPr>
          <p:cNvSpPr txBox="1"/>
          <p:nvPr/>
        </p:nvSpPr>
        <p:spPr>
          <a:xfrm>
            <a:off x="5470252" y="1231063"/>
            <a:ext cx="194504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pl-PL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 uzavřenému dni 27. 6. 2021</a:t>
            </a: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173954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B1276870-99EE-4D94-8977-D4A2442A6BF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14426855"/>
              </p:ext>
            </p:extLst>
          </p:nvPr>
        </p:nvGraphicFramePr>
        <p:xfrm>
          <a:off x="556549" y="3273786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399F9D63-C378-4018-B97A-C6FF1B38BBF2}"/>
              </a:ext>
            </a:extLst>
          </p:cNvPr>
          <p:cNvSpPr txBox="1"/>
          <p:nvPr/>
        </p:nvSpPr>
        <p:spPr>
          <a:xfrm>
            <a:off x="214075" y="1050497"/>
            <a:ext cx="38671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 dle hodnoty reprodukčního čísla 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69B8FCCD-AB42-495D-8900-E0EDAF4D3695}"/>
              </a:ext>
            </a:extLst>
          </p:cNvPr>
          <p:cNvSpPr txBox="1"/>
          <p:nvPr/>
        </p:nvSpPr>
        <p:spPr>
          <a:xfrm>
            <a:off x="4792918" y="638978"/>
            <a:ext cx="5031486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vý scénář (R = 1,10)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915432FB-02C6-4A48-823E-AAFFD38F04CD}"/>
              </a:ext>
            </a:extLst>
          </p:cNvPr>
          <p:cNvSpPr txBox="1"/>
          <p:nvPr/>
        </p:nvSpPr>
        <p:spPr>
          <a:xfrm>
            <a:off x="4792918" y="1947883"/>
            <a:ext cx="5031486" cy="369332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zpomalení (R = 0,70)</a:t>
            </a:r>
          </a:p>
        </p:txBody>
      </p:sp>
      <p:cxnSp>
        <p:nvCxnSpPr>
          <p:cNvPr id="10" name="Přímá spojnice se šipkou 9">
            <a:extLst>
              <a:ext uri="{FF2B5EF4-FFF2-40B4-BE49-F238E27FC236}">
                <a16:creationId xmlns:a16="http://schemas.microsoft.com/office/drawing/2014/main" id="{2FBBF0DE-751C-4A8D-9688-745F518DEA63}"/>
              </a:ext>
            </a:extLst>
          </p:cNvPr>
          <p:cNvCxnSpPr/>
          <p:nvPr/>
        </p:nvCxnSpPr>
        <p:spPr>
          <a:xfrm flipV="1">
            <a:off x="4154743" y="864532"/>
            <a:ext cx="523875" cy="56949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Přímá spojnice se šipkou 10">
            <a:extLst>
              <a:ext uri="{FF2B5EF4-FFF2-40B4-BE49-F238E27FC236}">
                <a16:creationId xmlns:a16="http://schemas.microsoft.com/office/drawing/2014/main" id="{427BD7B2-178E-45A0-B634-921C0C8A629F}"/>
              </a:ext>
            </a:extLst>
          </p:cNvPr>
          <p:cNvCxnSpPr/>
          <p:nvPr/>
        </p:nvCxnSpPr>
        <p:spPr>
          <a:xfrm>
            <a:off x="4154743" y="1503447"/>
            <a:ext cx="523875" cy="64073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6">
            <a:extLst>
              <a:ext uri="{FF2B5EF4-FFF2-40B4-BE49-F238E27FC236}">
                <a16:creationId xmlns:a16="http://schemas.microsoft.com/office/drawing/2014/main" id="{69CEF138-18A8-4271-9FEF-402DB7C25B86}"/>
              </a:ext>
            </a:extLst>
          </p:cNvPr>
          <p:cNvSpPr txBox="1"/>
          <p:nvPr/>
        </p:nvSpPr>
        <p:spPr>
          <a:xfrm>
            <a:off x="489851" y="2893021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D297EC6B-32AF-493A-B2A7-B285C8CEF178}"/>
              </a:ext>
            </a:extLst>
          </p:cNvPr>
          <p:cNvSpPr txBox="1"/>
          <p:nvPr/>
        </p:nvSpPr>
        <p:spPr>
          <a:xfrm>
            <a:off x="4475378" y="2789253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10</a:t>
            </a: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3C9B186B-8163-428B-A364-E90D3144B57D}"/>
              </a:ext>
            </a:extLst>
          </p:cNvPr>
          <p:cNvSpPr/>
          <p:nvPr/>
        </p:nvSpPr>
        <p:spPr>
          <a:xfrm>
            <a:off x="7952761" y="2841929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35669B2F-D612-4664-B709-53D98132D57A}"/>
              </a:ext>
            </a:extLst>
          </p:cNvPr>
          <p:cNvSpPr txBox="1"/>
          <p:nvPr/>
        </p:nvSpPr>
        <p:spPr>
          <a:xfrm>
            <a:off x="8249942" y="2790122"/>
            <a:ext cx="15734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9" name="Přímá spojnice 18">
            <a:extLst>
              <a:ext uri="{FF2B5EF4-FFF2-40B4-BE49-F238E27FC236}">
                <a16:creationId xmlns:a16="http://schemas.microsoft.com/office/drawing/2014/main" id="{76B85254-1A7D-488E-9830-3F99A7742F43}"/>
              </a:ext>
            </a:extLst>
          </p:cNvPr>
          <p:cNvCxnSpPr>
            <a:cxnSpLocks/>
          </p:cNvCxnSpPr>
          <p:nvPr/>
        </p:nvCxnSpPr>
        <p:spPr>
          <a:xfrm>
            <a:off x="4180633" y="2944288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7DE1342D-EB8B-4B07-AF76-9D71853830EC}"/>
              </a:ext>
            </a:extLst>
          </p:cNvPr>
          <p:cNvSpPr txBox="1"/>
          <p:nvPr/>
        </p:nvSpPr>
        <p:spPr>
          <a:xfrm>
            <a:off x="4475378" y="3014473"/>
            <a:ext cx="313540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0	</a:t>
            </a:r>
          </a:p>
        </p:txBody>
      </p: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E4706C2C-C343-4CD4-BC4A-ED6979CFCE85}"/>
              </a:ext>
            </a:extLst>
          </p:cNvPr>
          <p:cNvCxnSpPr>
            <a:cxnSpLocks/>
          </p:cNvCxnSpPr>
          <p:nvPr/>
        </p:nvCxnSpPr>
        <p:spPr>
          <a:xfrm>
            <a:off x="4180633" y="3167595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24">
            <a:extLst>
              <a:ext uri="{FF2B5EF4-FFF2-40B4-BE49-F238E27FC236}">
                <a16:creationId xmlns:a16="http://schemas.microsoft.com/office/drawing/2014/main" id="{E453CAE8-274D-40EB-837F-1DFE06B3FC2E}"/>
              </a:ext>
            </a:extLst>
          </p:cNvPr>
          <p:cNvCxnSpPr>
            <a:cxnSpLocks/>
          </p:cNvCxnSpPr>
          <p:nvPr/>
        </p:nvCxnSpPr>
        <p:spPr>
          <a:xfrm>
            <a:off x="4180633" y="3387705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66CCB7E5-B893-4905-A783-B3A264BEFB90}"/>
              </a:ext>
            </a:extLst>
          </p:cNvPr>
          <p:cNvSpPr txBox="1"/>
          <p:nvPr/>
        </p:nvSpPr>
        <p:spPr>
          <a:xfrm>
            <a:off x="10091064" y="4065325"/>
            <a:ext cx="1544387" cy="83099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8. </a:t>
            </a:r>
            <a:r>
              <a:rPr lang="cs-CZ" sz="1200" b="1" dirty="0">
                <a:solidFill>
                  <a:prstClr val="black"/>
                </a:solidFill>
                <a:latin typeface="Calibri" panose="020F0502020204030204"/>
              </a:rPr>
              <a:t>7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2021</a:t>
            </a: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110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22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5 predikovaných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266137AA-9182-40A3-A142-5179882050AD}"/>
              </a:ext>
            </a:extLst>
          </p:cNvPr>
          <p:cNvSpPr txBox="1"/>
          <p:nvPr/>
        </p:nvSpPr>
        <p:spPr>
          <a:xfrm>
            <a:off x="4467521" y="3238409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7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</a:t>
            </a: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6. 2021, R aplikováno od 24. 5. 2021)</a:t>
            </a: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E32A18E1-478B-49B3-B19F-744DF92D3F6C}"/>
              </a:ext>
            </a:extLst>
          </p:cNvPr>
          <p:cNvSpPr txBox="1"/>
          <p:nvPr/>
        </p:nvSpPr>
        <p:spPr>
          <a:xfrm>
            <a:off x="7780712" y="4294618"/>
            <a:ext cx="1544387" cy="83099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b="1" dirty="0">
                <a:solidFill>
                  <a:prstClr val="black"/>
                </a:solidFill>
                <a:latin typeface="Calibri" panose="020F0502020204030204"/>
              </a:rPr>
              <a:t>30. 6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2021</a:t>
            </a: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78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27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8 predikovaných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22" name="Nadpis 1">
            <a:extLst>
              <a:ext uri="{FF2B5EF4-FFF2-40B4-BE49-F238E27FC236}">
                <a16:creationId xmlns:a16="http://schemas.microsoft.com/office/drawing/2014/main" id="{6518D429-51CE-40C1-89F9-ADE1A20304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ce ve třech scénářích: Jihomoravský kraj</a:t>
            </a:r>
          </a:p>
        </p:txBody>
      </p:sp>
      <p:pic>
        <p:nvPicPr>
          <p:cNvPr id="27" name="Obrázek 9">
            <a:extLst>
              <a:ext uri="{FF2B5EF4-FFF2-40B4-BE49-F238E27FC236}">
                <a16:creationId xmlns:a16="http://schemas.microsoft.com/office/drawing/2014/main" id="{7CA754DC-A822-422C-92D5-2A3B36E4E5D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1787" y="576002"/>
            <a:ext cx="1470213" cy="352072"/>
          </a:xfrm>
          <a:prstGeom prst="rect">
            <a:avLst/>
          </a:prstGeom>
        </p:spPr>
      </p:pic>
      <p:sp>
        <p:nvSpPr>
          <p:cNvPr id="23" name="TextovéPole 22">
            <a:extLst>
              <a:ext uri="{FF2B5EF4-FFF2-40B4-BE49-F238E27FC236}">
                <a16:creationId xmlns:a16="http://schemas.microsoft.com/office/drawing/2014/main" id="{DFDB6EB0-E422-4485-B374-2148CBBFFA65}"/>
              </a:ext>
            </a:extLst>
          </p:cNvPr>
          <p:cNvSpPr txBox="1"/>
          <p:nvPr/>
        </p:nvSpPr>
        <p:spPr>
          <a:xfrm>
            <a:off x="8249942" y="3001602"/>
            <a:ext cx="194504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pl-PL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 uzavřenému dni 27. 6. 2021</a:t>
            </a: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890246960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ulka 9">
            <a:extLst>
              <a:ext uri="{FF2B5EF4-FFF2-40B4-BE49-F238E27FC236}">
                <a16:creationId xmlns:a16="http://schemas.microsoft.com/office/drawing/2014/main" id="{2CDF3C9D-B366-482C-9DEE-848BF9D72A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6781258"/>
              </p:ext>
            </p:extLst>
          </p:nvPr>
        </p:nvGraphicFramePr>
        <p:xfrm>
          <a:off x="45720" y="1318054"/>
          <a:ext cx="12108951" cy="5019468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18422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3468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93810515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272550134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889585356"/>
                    </a:ext>
                  </a:extLst>
                </a:gridCol>
                <a:gridCol w="1116000">
                  <a:extLst>
                    <a:ext uri="{9D8B030D-6E8A-4147-A177-3AD203B41FA5}">
                      <a16:colId xmlns:a16="http://schemas.microsoft.com/office/drawing/2014/main" val="3083214646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487868241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891010204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340384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264344487"/>
                    </a:ext>
                  </a:extLst>
                </a:gridCol>
                <a:gridCol w="1008000">
                  <a:extLst>
                    <a:ext uri="{9D8B030D-6E8A-4147-A177-3AD203B41FA5}">
                      <a16:colId xmlns:a16="http://schemas.microsoft.com/office/drawing/2014/main" val="13148050"/>
                    </a:ext>
                  </a:extLst>
                </a:gridCol>
                <a:gridCol w="1008000">
                  <a:extLst>
                    <a:ext uri="{9D8B030D-6E8A-4147-A177-3AD203B41FA5}">
                      <a16:colId xmlns:a16="http://schemas.microsoft.com/office/drawing/2014/main" val="1091220691"/>
                    </a:ext>
                  </a:extLst>
                </a:gridCol>
              </a:tblGrid>
              <a:tr h="822960">
                <a:tc>
                  <a:txBody>
                    <a:bodyPr/>
                    <a:lstStyle/>
                    <a:p>
                      <a:pPr algn="l"/>
                      <a:endParaRPr lang="cs-CZ" sz="16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cs-CZ" sz="1600" u="sng" dirty="0"/>
                        <a:t>Predikovaný celkový počet</a:t>
                      </a:r>
                      <a:r>
                        <a:rPr lang="cs-CZ" sz="1600" u="none" dirty="0"/>
                        <a:t> </a:t>
                      </a:r>
                      <a:br>
                        <a:rPr lang="cs-CZ" sz="1600" u="none" dirty="0"/>
                      </a:br>
                      <a:r>
                        <a:rPr lang="cs-CZ" sz="1600" u="none" dirty="0"/>
                        <a:t>N</a:t>
                      </a:r>
                      <a:r>
                        <a:rPr lang="cs-CZ" sz="1600" dirty="0"/>
                        <a:t>ově prokázané nákazy COVID-19</a:t>
                      </a:r>
                      <a:endParaRPr lang="cs-CZ" sz="1600" b="1" dirty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alita: naměřené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odnot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u="sng" dirty="0"/>
                        <a:t>Predikovaný průměrný denní počet</a:t>
                      </a:r>
                      <a:r>
                        <a:rPr lang="cs-CZ" sz="1600" dirty="0"/>
                        <a:t> Nově prokázané nákazy COVID-19</a:t>
                      </a:r>
                      <a:endParaRPr lang="cs-CZ" sz="16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600" b="1" dirty="0"/>
                        <a:t>Realita: naměřené</a:t>
                      </a:r>
                    </a:p>
                    <a:p>
                      <a:pPr algn="ctr"/>
                      <a:r>
                        <a:rPr lang="cs-CZ" sz="1600" b="1" dirty="0"/>
                        <a:t>hodnoty</a:t>
                      </a:r>
                      <a:endParaRPr lang="en-US" sz="16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16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87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odnota R</a:t>
                      </a:r>
                      <a:br>
                        <a:rPr lang="cs-CZ" sz="16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od 24</a:t>
                      </a:r>
                      <a:r>
                        <a:rPr lang="en-US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r>
                        <a:rPr lang="cs-CZ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5.)</a:t>
                      </a:r>
                      <a:endParaRPr lang="cs-CZ" sz="16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7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8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9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,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</a:t>
                      </a:r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FF"/>
                        </a:highlight>
                        <a:latin typeface="+mj-lt"/>
                      </a:endParaRP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7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8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9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,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</a:t>
                      </a:r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FF"/>
                        </a:highlight>
                        <a:latin typeface="+mj-lt"/>
                      </a:endParaRP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highlight>
                            <a:srgbClr val="FFFFFF"/>
                          </a:highlight>
                        </a:rPr>
                        <a:t>denní průměr včetně víkendů</a:t>
                      </a:r>
                      <a:endParaRPr lang="en-US" sz="1200" dirty="0">
                        <a:highlight>
                          <a:srgbClr val="FFFFFF"/>
                        </a:highlight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highlight>
                            <a:srgbClr val="FFFFFF"/>
                          </a:highlight>
                        </a:rPr>
                        <a:t>denní průměr v pracovních dnech</a:t>
                      </a:r>
                      <a:endParaRPr lang="cs-CZ" sz="1200" dirty="0">
                        <a:highlight>
                          <a:srgbClr val="FFFFFF"/>
                        </a:highlight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8491739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indent="0" algn="l" fontAlgn="b"/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  <a:r>
                        <a:rPr lang="cs-CZ" sz="1450" b="1" u="none" strike="noStrike" dirty="0">
                          <a:effectLst/>
                        </a:rPr>
                        <a:t>.–13. 6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 tisíce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 tisíce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 tisíce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 tisíce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6621032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50" u="none" strike="noStrike" dirty="0">
                          <a:effectLst/>
                        </a:rPr>
                        <a:t>Období </a:t>
                      </a:r>
                      <a:r>
                        <a:rPr lang="cs-CZ" sz="1450" b="1" u="none" strike="noStrike" dirty="0">
                          <a:effectLst/>
                        </a:rPr>
                        <a:t>14.–20. 6.</a:t>
                      </a:r>
                      <a:endParaRPr lang="cs-CZ" sz="14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 tisíce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 tisíce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 tisíce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 tisíce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62736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1</a:t>
                      </a:r>
                      <a:r>
                        <a:rPr lang="cs-CZ" sz="1450" b="1" u="none" strike="noStrike" dirty="0">
                          <a:effectLst/>
                        </a:rPr>
                        <a:t>.–27. 6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 tisíce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 tisíce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 tisíce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3466947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indent="0" algn="l" fontAlgn="b"/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8. 6.</a:t>
                      </a:r>
                      <a:r>
                        <a:rPr lang="cs-CZ" sz="1450" b="1" u="none" strike="noStrike" dirty="0">
                          <a:effectLst/>
                        </a:rPr>
                        <a:t>–4. 7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 tisíce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 tisíce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6 tisíce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7246171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.</a:t>
                      </a:r>
                      <a:r>
                        <a:rPr lang="cs-CZ" sz="1450" b="1" u="none" strike="noStrike" dirty="0">
                          <a:effectLst/>
                        </a:rPr>
                        <a:t>–11. 7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 tisíce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6 tisíce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9339872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.</a:t>
                      </a:r>
                      <a:r>
                        <a:rPr lang="cs-CZ" sz="1450" b="1" u="none" strike="noStrike" dirty="0">
                          <a:effectLst/>
                        </a:rPr>
                        <a:t>–18. 7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 tisíce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7 tisíce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4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651041"/>
                  </a:ext>
                </a:extLst>
              </a:tr>
            </a:tbl>
          </a:graphicData>
        </a:graphic>
      </p:graphicFrame>
      <p:sp>
        <p:nvSpPr>
          <p:cNvPr id="9" name="TextovéPole 8">
            <a:extLst>
              <a:ext uri="{FF2B5EF4-FFF2-40B4-BE49-F238E27FC236}">
                <a16:creationId xmlns:a16="http://schemas.microsoft.com/office/drawing/2014/main" id="{E4A0DC13-0AB7-42C0-B44A-C8095E8723E9}"/>
              </a:ext>
            </a:extLst>
          </p:cNvPr>
          <p:cNvSpPr txBox="1"/>
          <p:nvPr/>
        </p:nvSpPr>
        <p:spPr>
          <a:xfrm>
            <a:off x="45720" y="6388483"/>
            <a:ext cx="12090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200" dirty="0">
                <a:solidFill>
                  <a:schemeClr val="accent1"/>
                </a:solidFill>
              </a:rPr>
              <a:t>Predikované počty odpovídají modelovaným hodnotám (kalibrovaným na hodnoty pozorované v pracovních dnech), naměřené hodnoty zahrnují všechny počty hlášené do databáze, včetně potenciálně nižších záchytů nemoci v nepracovních dnech. V případě denního průměrného počtu jsou uvedeny i hodnoty, které zahrnují pouze pracovní dny.</a:t>
            </a:r>
          </a:p>
        </p:txBody>
      </p:sp>
      <p:sp>
        <p:nvSpPr>
          <p:cNvPr id="8" name="Nadpis 1">
            <a:extLst>
              <a:ext uri="{FF2B5EF4-FFF2-40B4-BE49-F238E27FC236}">
                <a16:creationId xmlns:a16="http://schemas.microsoft.com/office/drawing/2014/main" id="{DBBDF33E-D7ED-4B93-A481-745FE41008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558611" cy="576000"/>
          </a:xfrm>
        </p:spPr>
        <p:txBody>
          <a:bodyPr/>
          <a:lstStyle/>
          <a:p>
            <a:r>
              <a:rPr lang="cs-CZ" dirty="0" err="1"/>
              <a:t>Rekalibrace</a:t>
            </a:r>
            <a:r>
              <a:rPr lang="cs-CZ" dirty="0"/>
              <a:t> prediktivního modelu pro </a:t>
            </a:r>
            <a:r>
              <a:rPr lang="cs-CZ" u="sng" dirty="0"/>
              <a:t>nové scénáře</a:t>
            </a:r>
            <a:r>
              <a:rPr lang="cs-CZ" dirty="0"/>
              <a:t>: Jihomoravský kraj</a:t>
            </a:r>
          </a:p>
        </p:txBody>
      </p:sp>
      <p:pic>
        <p:nvPicPr>
          <p:cNvPr id="6" name="Obrázek 9">
            <a:extLst>
              <a:ext uri="{FF2B5EF4-FFF2-40B4-BE49-F238E27FC236}">
                <a16:creationId xmlns:a16="http://schemas.microsoft.com/office/drawing/2014/main" id="{5E559D48-E8F6-4BAB-BC54-94157E9697F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1787" y="920772"/>
            <a:ext cx="1470213" cy="352072"/>
          </a:xfrm>
          <a:prstGeom prst="rect">
            <a:avLst/>
          </a:prstGeom>
        </p:spPr>
      </p:pic>
      <p:sp>
        <p:nvSpPr>
          <p:cNvPr id="7" name="TextovéPole 6">
            <a:extLst>
              <a:ext uri="{FF2B5EF4-FFF2-40B4-BE49-F238E27FC236}">
                <a16:creationId xmlns:a16="http://schemas.microsoft.com/office/drawing/2014/main" id="{A48ED8EF-03D8-4CBE-A6E6-073C5D8CAB11}"/>
              </a:ext>
            </a:extLst>
          </p:cNvPr>
          <p:cNvSpPr txBox="1"/>
          <p:nvPr/>
        </p:nvSpPr>
        <p:spPr>
          <a:xfrm>
            <a:off x="0" y="576002"/>
            <a:ext cx="1231394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600" b="1" dirty="0">
                <a:solidFill>
                  <a:srgbClr val="000000"/>
                </a:solidFill>
              </a:rPr>
              <a:t>Epidemické křivky vytvořeny pomocí modelu pro krátkodobé predikce ÚZIS ČR, </a:t>
            </a:r>
            <a:r>
              <a:rPr lang="pl-PL" sz="1600" b="1" u="sng" dirty="0">
                <a:solidFill>
                  <a:srgbClr val="000000"/>
                </a:solidFill>
              </a:rPr>
              <a:t>predikce odpovídá údajům z 1. 6. 2021.</a:t>
            </a:r>
            <a:endParaRPr lang="cs-CZ" sz="1600" b="1" u="sng" dirty="0">
              <a:solidFill>
                <a:srgbClr val="000000"/>
              </a:solidFill>
            </a:endParaRPr>
          </a:p>
          <a:p>
            <a:pPr lvl="0">
              <a:defRPr/>
            </a:pPr>
            <a:r>
              <a:rPr lang="cs-CZ" sz="1200" b="1" dirty="0">
                <a:solidFill>
                  <a:srgbClr val="000000"/>
                </a:solidFill>
              </a:rPr>
              <a:t>Hodnota celorepublikového modelu byla lokalizovaná do příslušného kraje se zohledněním trendu nárůstu ve </a:t>
            </a:r>
            <a:r>
              <a:rPr lang="pl-PL" sz="1200" b="1" dirty="0">
                <a:solidFill>
                  <a:srgbClr val="000000"/>
                </a:solidFill>
              </a:rPr>
              <a:t>dnech 24. 5. až 31. 5.</a:t>
            </a:r>
          </a:p>
          <a:p>
            <a:pPr lvl="0">
              <a:defRPr/>
            </a:pPr>
            <a:r>
              <a:rPr lang="cs-CZ" sz="1200" b="1" dirty="0">
                <a:solidFill>
                  <a:srgbClr val="000000"/>
                </a:solidFill>
              </a:rPr>
              <a:t>Naměřené hodnoty jsou aktuální </a:t>
            </a:r>
            <a:r>
              <a:rPr lang="pl-PL" sz="1200" b="1" dirty="0">
                <a:solidFill>
                  <a:srgbClr val="000000"/>
                </a:solidFill>
              </a:rPr>
              <a:t>k uzavřenému dni 27. 6. 2021</a:t>
            </a:r>
            <a:r>
              <a:rPr lang="cs-CZ" sz="1200" b="1" dirty="0">
                <a:solidFill>
                  <a:srgbClr val="000000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973416855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B1276870-99EE-4D94-8977-D4A2442A6BF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69778578"/>
              </p:ext>
            </p:extLst>
          </p:nvPr>
        </p:nvGraphicFramePr>
        <p:xfrm>
          <a:off x="556549" y="867747"/>
          <a:ext cx="11354940" cy="5955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5" name="TextovéPole 14">
            <a:extLst>
              <a:ext uri="{FF2B5EF4-FFF2-40B4-BE49-F238E27FC236}">
                <a16:creationId xmlns:a16="http://schemas.microsoft.com/office/drawing/2014/main" id="{D297EC6B-32AF-493A-B2A7-B285C8CEF178}"/>
              </a:ext>
            </a:extLst>
          </p:cNvPr>
          <p:cNvSpPr txBox="1"/>
          <p:nvPr/>
        </p:nvSpPr>
        <p:spPr>
          <a:xfrm>
            <a:off x="1931960" y="976711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10</a:t>
            </a: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3C9B186B-8163-428B-A364-E90D3144B57D}"/>
              </a:ext>
            </a:extLst>
          </p:cNvPr>
          <p:cNvSpPr/>
          <p:nvPr/>
        </p:nvSpPr>
        <p:spPr>
          <a:xfrm>
            <a:off x="5175471" y="1053160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35669B2F-D612-4664-B709-53D98132D57A}"/>
              </a:ext>
            </a:extLst>
          </p:cNvPr>
          <p:cNvSpPr txBox="1"/>
          <p:nvPr/>
        </p:nvSpPr>
        <p:spPr>
          <a:xfrm>
            <a:off x="5472652" y="1001353"/>
            <a:ext cx="15734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9" name="Přímá spojnice 18">
            <a:extLst>
              <a:ext uri="{FF2B5EF4-FFF2-40B4-BE49-F238E27FC236}">
                <a16:creationId xmlns:a16="http://schemas.microsoft.com/office/drawing/2014/main" id="{76B85254-1A7D-488E-9830-3F99A7742F43}"/>
              </a:ext>
            </a:extLst>
          </p:cNvPr>
          <p:cNvCxnSpPr>
            <a:cxnSpLocks/>
          </p:cNvCxnSpPr>
          <p:nvPr/>
        </p:nvCxnSpPr>
        <p:spPr>
          <a:xfrm>
            <a:off x="1637215" y="1131746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7DE1342D-EB8B-4B07-AF76-9D71853830EC}"/>
              </a:ext>
            </a:extLst>
          </p:cNvPr>
          <p:cNvSpPr txBox="1"/>
          <p:nvPr/>
        </p:nvSpPr>
        <p:spPr>
          <a:xfrm>
            <a:off x="1931960" y="1201931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0</a:t>
            </a:r>
          </a:p>
        </p:txBody>
      </p: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E4706C2C-C343-4CD4-BC4A-ED6979CFCE85}"/>
              </a:ext>
            </a:extLst>
          </p:cNvPr>
          <p:cNvCxnSpPr>
            <a:cxnSpLocks/>
          </p:cNvCxnSpPr>
          <p:nvPr/>
        </p:nvCxnSpPr>
        <p:spPr>
          <a:xfrm>
            <a:off x="1637215" y="1355053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24">
            <a:extLst>
              <a:ext uri="{FF2B5EF4-FFF2-40B4-BE49-F238E27FC236}">
                <a16:creationId xmlns:a16="http://schemas.microsoft.com/office/drawing/2014/main" id="{E453CAE8-274D-40EB-837F-1DFE06B3FC2E}"/>
              </a:ext>
            </a:extLst>
          </p:cNvPr>
          <p:cNvCxnSpPr>
            <a:cxnSpLocks/>
          </p:cNvCxnSpPr>
          <p:nvPr/>
        </p:nvCxnSpPr>
        <p:spPr>
          <a:xfrm>
            <a:off x="1637215" y="1583552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66CCB7E5-B893-4905-A783-B3A264BEFB90}"/>
              </a:ext>
            </a:extLst>
          </p:cNvPr>
          <p:cNvSpPr txBox="1"/>
          <p:nvPr/>
        </p:nvSpPr>
        <p:spPr>
          <a:xfrm>
            <a:off x="9546722" y="2199307"/>
            <a:ext cx="1945049" cy="100027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b="1" dirty="0">
                <a:solidFill>
                  <a:prstClr val="black"/>
                </a:solidFill>
                <a:latin typeface="Calibri" panose="020F0502020204030204"/>
              </a:rPr>
              <a:t>18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7. 2021</a:t>
            </a:r>
          </a:p>
          <a:p>
            <a:pPr lvl="0" algn="r"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7denní </a:t>
            </a:r>
            <a:r>
              <a:rPr lang="cs-CZ" sz="1100" dirty="0" err="1">
                <a:solidFill>
                  <a:prstClr val="black"/>
                </a:solidFill>
                <a:latin typeface="Calibri" panose="020F0502020204030204"/>
              </a:rPr>
              <a:t>kum</a:t>
            </a: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. počet na 100 tis.)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61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13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3 na 100 tisíc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266137AA-9182-40A3-A142-5179882050AD}"/>
              </a:ext>
            </a:extLst>
          </p:cNvPr>
          <p:cNvSpPr txBox="1"/>
          <p:nvPr/>
        </p:nvSpPr>
        <p:spPr>
          <a:xfrm>
            <a:off x="1924103" y="1434256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70</a:t>
            </a:r>
          </a:p>
          <a:p>
            <a:pPr lvl="0"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scénáře ze dne 1. 6. 2021, R aplikováno od 24. 5. 2021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E32A18E1-478B-49B3-B19F-744DF92D3F6C}"/>
              </a:ext>
            </a:extLst>
          </p:cNvPr>
          <p:cNvSpPr txBox="1"/>
          <p:nvPr/>
        </p:nvSpPr>
        <p:spPr>
          <a:xfrm>
            <a:off x="7273125" y="2199307"/>
            <a:ext cx="1945048" cy="100027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b="1" dirty="0">
                <a:solidFill>
                  <a:prstClr val="black"/>
                </a:solidFill>
                <a:latin typeface="Calibri" panose="020F0502020204030204"/>
              </a:rPr>
              <a:t>30. 6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2021 </a:t>
            </a:r>
            <a:b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7denní </a:t>
            </a:r>
            <a:r>
              <a:rPr lang="cs-CZ" sz="1100" dirty="0" err="1">
                <a:solidFill>
                  <a:prstClr val="black"/>
                </a:solidFill>
                <a:latin typeface="Calibri" panose="020F0502020204030204"/>
              </a:rPr>
              <a:t>kum</a:t>
            </a: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. počet na 100 tis.)</a:t>
            </a:r>
            <a:endParaRPr kumimoji="0" lang="cs-CZ" sz="12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43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17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6 na 100 tisíc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30" name="TextBox 6">
            <a:extLst>
              <a:ext uri="{FF2B5EF4-FFF2-40B4-BE49-F238E27FC236}">
                <a16:creationId xmlns:a16="http://schemas.microsoft.com/office/drawing/2014/main" id="{8B058FAD-246D-4FB5-9A38-9461A45D5931}"/>
              </a:ext>
            </a:extLst>
          </p:cNvPr>
          <p:cNvSpPr txBox="1"/>
          <p:nvPr/>
        </p:nvSpPr>
        <p:spPr>
          <a:xfrm rot="16200000">
            <a:off x="-1483263" y="3360473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2AE1522-C017-42C8-A5BD-E7F3E887F3AA}"/>
              </a:ext>
            </a:extLst>
          </p:cNvPr>
          <p:cNvSpPr txBox="1"/>
          <p:nvPr/>
        </p:nvSpPr>
        <p:spPr>
          <a:xfrm>
            <a:off x="7780712" y="1826572"/>
            <a:ext cx="29732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i="1" dirty="0"/>
              <a:t>Predikované hodnoty </a:t>
            </a:r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C2CDA8BD-006D-42A8-BA88-064DA323F845}"/>
              </a:ext>
            </a:extLst>
          </p:cNvPr>
          <p:cNvSpPr txBox="1"/>
          <p:nvPr/>
        </p:nvSpPr>
        <p:spPr>
          <a:xfrm>
            <a:off x="11558187" y="3553360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00" b="1" dirty="0">
                <a:latin typeface="Calibri" panose="020F0502020204030204" pitchFamily="34" charset="0"/>
                <a:cs typeface="Calibri" panose="020F0502020204030204" pitchFamily="34" charset="0"/>
              </a:rPr>
              <a:t>100</a:t>
            </a:r>
          </a:p>
          <a:p>
            <a:r>
              <a:rPr lang="cs-CZ" sz="800" dirty="0">
                <a:latin typeface="Calibri" panose="020F0502020204030204" pitchFamily="34" charset="0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5B77FD62-F375-40BF-A635-0F86D4274581}"/>
              </a:ext>
            </a:extLst>
          </p:cNvPr>
          <p:cNvSpPr txBox="1"/>
          <p:nvPr/>
        </p:nvSpPr>
        <p:spPr>
          <a:xfrm>
            <a:off x="11577452" y="4621660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00" b="1" dirty="0">
                <a:latin typeface="Calibri" panose="020F0502020204030204" pitchFamily="34" charset="0"/>
                <a:cs typeface="Calibri" panose="020F0502020204030204" pitchFamily="34" charset="0"/>
              </a:rPr>
              <a:t>50</a:t>
            </a:r>
          </a:p>
          <a:p>
            <a:r>
              <a:rPr lang="cs-CZ" sz="800" dirty="0">
                <a:latin typeface="Calibri" panose="020F0502020204030204" pitchFamily="34" charset="0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31" name="Nadpis 1">
            <a:extLst>
              <a:ext uri="{FF2B5EF4-FFF2-40B4-BE49-F238E27FC236}">
                <a16:creationId xmlns:a16="http://schemas.microsoft.com/office/drawing/2014/main" id="{CFCC2C02-F284-4941-91C6-5CC2566B6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en-US" sz="1800" dirty="0" err="1">
                <a:latin typeface="+mj-lt"/>
              </a:rPr>
              <a:t>Modelov</a:t>
            </a:r>
            <a:r>
              <a:rPr lang="cs-CZ" sz="1800" dirty="0">
                <a:latin typeface="+mj-lt"/>
              </a:rPr>
              <a:t>é scénáře: 7denní hodnoty na 100 tisíc obyvatel: </a:t>
            </a:r>
            <a:r>
              <a:rPr lang="cs-CZ" sz="1800" dirty="0"/>
              <a:t>Jihomoravský kraj</a:t>
            </a:r>
            <a:endParaRPr lang="cs-CZ" sz="1800" dirty="0">
              <a:latin typeface="+mj-lt"/>
            </a:endParaRPr>
          </a:p>
        </p:txBody>
      </p: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EE744899-4831-4573-9408-495F16CA9A16}"/>
              </a:ext>
            </a:extLst>
          </p:cNvPr>
          <p:cNvSpPr txBox="1"/>
          <p:nvPr/>
        </p:nvSpPr>
        <p:spPr>
          <a:xfrm>
            <a:off x="228000" y="6456056"/>
            <a:ext cx="1173470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100" dirty="0">
                <a:solidFill>
                  <a:schemeClr val="accent1"/>
                </a:solidFill>
              </a:rPr>
              <a:t>Hodnota celorepublikového modelu byla lokalizovaná do příslušného kraje se zohledněním trendu nárůstu ve dnech 24. 5. až 31. 5.</a:t>
            </a:r>
          </a:p>
        </p:txBody>
      </p:sp>
      <p:pic>
        <p:nvPicPr>
          <p:cNvPr id="27" name="Obrázek 9">
            <a:extLst>
              <a:ext uri="{FF2B5EF4-FFF2-40B4-BE49-F238E27FC236}">
                <a16:creationId xmlns:a16="http://schemas.microsoft.com/office/drawing/2014/main" id="{24EC32A6-65D3-4A94-BD8B-77F272E735B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1787" y="576002"/>
            <a:ext cx="1470213" cy="352072"/>
          </a:xfrm>
          <a:prstGeom prst="rect">
            <a:avLst/>
          </a:prstGeom>
        </p:spPr>
      </p:pic>
      <p:sp>
        <p:nvSpPr>
          <p:cNvPr id="33" name="TextovéPole 32">
            <a:extLst>
              <a:ext uri="{FF2B5EF4-FFF2-40B4-BE49-F238E27FC236}">
                <a16:creationId xmlns:a16="http://schemas.microsoft.com/office/drawing/2014/main" id="{6AF7FA51-65F5-4772-8837-5E04D8595338}"/>
              </a:ext>
            </a:extLst>
          </p:cNvPr>
          <p:cNvSpPr txBox="1"/>
          <p:nvPr/>
        </p:nvSpPr>
        <p:spPr>
          <a:xfrm>
            <a:off x="5470252" y="1231063"/>
            <a:ext cx="194504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pl-PL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 uzavřenému dni 27. 6. 2021</a:t>
            </a: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3871370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ovéPole 4">
            <a:extLst>
              <a:ext uri="{FF2B5EF4-FFF2-40B4-BE49-F238E27FC236}">
                <a16:creationId xmlns:a16="http://schemas.microsoft.com/office/drawing/2014/main" id="{A8F32B7D-2094-4232-AD78-BE19DD7B9AE6}"/>
              </a:ext>
            </a:extLst>
          </p:cNvPr>
          <p:cNvSpPr txBox="1"/>
          <p:nvPr/>
        </p:nvSpPr>
        <p:spPr>
          <a:xfrm>
            <a:off x="-177557" y="578574"/>
            <a:ext cx="1231394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pidemické křivky vytvořeny pomocí modelu pro krátkodobé predikce ÚZIS ČR,</a:t>
            </a:r>
            <a:b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1600" b="1" i="0" u="sng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600" b="1" i="0" u="sng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pov</a:t>
            </a:r>
            <a:r>
              <a:rPr kumimoji="0" lang="cs-CZ" sz="1600" b="1" i="0" u="sng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ídá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údajům z </a:t>
            </a:r>
            <a:r>
              <a:rPr lang="cs-CZ" sz="1600" b="1" u="sng" dirty="0">
                <a:solidFill>
                  <a:srgbClr val="000000"/>
                </a:solidFill>
                <a:latin typeface="Arial" panose="020B0604020202020204"/>
              </a:rPr>
              <a:t>1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  <a:r>
              <a:rPr lang="cs-CZ" sz="1600" b="1" u="sng" dirty="0">
                <a:solidFill>
                  <a:srgbClr val="000000"/>
                </a:solidFill>
                <a:latin typeface="Arial" panose="020B0604020202020204"/>
              </a:rPr>
              <a:t>6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2021.</a:t>
            </a:r>
            <a:r>
              <a:rPr kumimoji="0" lang="cs-CZ" sz="1600" b="1" i="0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lang="cs-CZ" sz="1600" b="1" dirty="0">
                <a:solidFill>
                  <a:srgbClr val="000000"/>
                </a:solidFill>
              </a:rPr>
              <a:t>Naměřené hodnoty jsou aktuální </a:t>
            </a:r>
            <a:r>
              <a:rPr lang="pl-PL" sz="1600" b="1" dirty="0">
                <a:solidFill>
                  <a:srgbClr val="000000"/>
                </a:solidFill>
              </a:rPr>
              <a:t>k uzavřenému dni 27. 6. 2021</a:t>
            </a:r>
            <a:r>
              <a:rPr lang="cs-CZ" sz="1600" b="1" dirty="0">
                <a:solidFill>
                  <a:srgbClr val="000000"/>
                </a:solidFill>
              </a:rPr>
              <a:t>.</a:t>
            </a:r>
            <a:endParaRPr kumimoji="0" lang="cs-CZ" sz="1700" b="1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000" y="2574"/>
            <a:ext cx="6776706" cy="576000"/>
          </a:xfrm>
        </p:spPr>
        <p:txBody>
          <a:bodyPr/>
          <a:lstStyle/>
          <a:p>
            <a:r>
              <a:rPr lang="cs-CZ" dirty="0" err="1"/>
              <a:t>Rekalibrace</a:t>
            </a:r>
            <a:r>
              <a:rPr lang="cs-CZ" dirty="0"/>
              <a:t> prediktivního modelu pro </a:t>
            </a:r>
            <a:r>
              <a:rPr lang="cs-CZ" u="sng" dirty="0"/>
              <a:t>nové scénáře</a:t>
            </a:r>
          </a:p>
        </p:txBody>
      </p:sp>
      <p:graphicFrame>
        <p:nvGraphicFramePr>
          <p:cNvPr id="10" name="Tabulka 9">
            <a:extLst>
              <a:ext uri="{FF2B5EF4-FFF2-40B4-BE49-F238E27FC236}">
                <a16:creationId xmlns:a16="http://schemas.microsoft.com/office/drawing/2014/main" id="{2CDF3C9D-B366-482C-9DEE-848BF9D72A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89827912"/>
              </p:ext>
            </p:extLst>
          </p:nvPr>
        </p:nvGraphicFramePr>
        <p:xfrm>
          <a:off x="45720" y="1208997"/>
          <a:ext cx="12108951" cy="5019468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18422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3468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93810515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272550134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889585356"/>
                    </a:ext>
                  </a:extLst>
                </a:gridCol>
                <a:gridCol w="1116000">
                  <a:extLst>
                    <a:ext uri="{9D8B030D-6E8A-4147-A177-3AD203B41FA5}">
                      <a16:colId xmlns:a16="http://schemas.microsoft.com/office/drawing/2014/main" val="3083214646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487868241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891010204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340384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264344487"/>
                    </a:ext>
                  </a:extLst>
                </a:gridCol>
                <a:gridCol w="1008000">
                  <a:extLst>
                    <a:ext uri="{9D8B030D-6E8A-4147-A177-3AD203B41FA5}">
                      <a16:colId xmlns:a16="http://schemas.microsoft.com/office/drawing/2014/main" val="13148050"/>
                    </a:ext>
                  </a:extLst>
                </a:gridCol>
                <a:gridCol w="1008000">
                  <a:extLst>
                    <a:ext uri="{9D8B030D-6E8A-4147-A177-3AD203B41FA5}">
                      <a16:colId xmlns:a16="http://schemas.microsoft.com/office/drawing/2014/main" val="1091220691"/>
                    </a:ext>
                  </a:extLst>
                </a:gridCol>
              </a:tblGrid>
              <a:tr h="822960">
                <a:tc>
                  <a:txBody>
                    <a:bodyPr/>
                    <a:lstStyle/>
                    <a:p>
                      <a:pPr algn="l"/>
                      <a:endParaRPr lang="cs-CZ" sz="16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cs-CZ" sz="1600" u="sng" dirty="0"/>
                        <a:t>Predikovaný celkový počet</a:t>
                      </a:r>
                      <a:r>
                        <a:rPr lang="cs-CZ" sz="1600" u="none" dirty="0"/>
                        <a:t> </a:t>
                      </a:r>
                      <a:br>
                        <a:rPr lang="cs-CZ" sz="1600" u="none" dirty="0"/>
                      </a:br>
                      <a:r>
                        <a:rPr lang="cs-CZ" sz="1600" u="none" dirty="0"/>
                        <a:t>N</a:t>
                      </a:r>
                      <a:r>
                        <a:rPr lang="cs-CZ" sz="1600" dirty="0"/>
                        <a:t>ově prokázané nákazy COVID-19</a:t>
                      </a:r>
                      <a:endParaRPr lang="cs-CZ" sz="1600" b="1" dirty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alita: naměřené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odnot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u="sng" dirty="0"/>
                        <a:t>Predikovaný průměrný denní počet</a:t>
                      </a:r>
                      <a:r>
                        <a:rPr lang="cs-CZ" sz="1600" dirty="0"/>
                        <a:t> Nově prokázané nákazy COVID-19</a:t>
                      </a:r>
                      <a:endParaRPr lang="cs-CZ" sz="16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600" b="1" dirty="0"/>
                        <a:t>Realita: naměřené</a:t>
                      </a:r>
                    </a:p>
                    <a:p>
                      <a:pPr algn="ctr"/>
                      <a:r>
                        <a:rPr lang="cs-CZ" sz="1600" b="1" dirty="0"/>
                        <a:t>hodnoty</a:t>
                      </a:r>
                      <a:endParaRPr lang="en-US" sz="16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16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87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odnota R</a:t>
                      </a:r>
                      <a:br>
                        <a:rPr lang="cs-CZ" sz="16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od 24</a:t>
                      </a:r>
                      <a:r>
                        <a:rPr lang="en-US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r>
                        <a:rPr lang="cs-CZ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5.)</a:t>
                      </a:r>
                      <a:endParaRPr lang="cs-CZ" sz="16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7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8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9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,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</a:t>
                      </a:r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FF"/>
                        </a:highlight>
                        <a:latin typeface="+mj-lt"/>
                      </a:endParaRP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7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8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9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,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</a:t>
                      </a:r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FF"/>
                        </a:highlight>
                        <a:latin typeface="+mj-lt"/>
                      </a:endParaRP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highlight>
                            <a:srgbClr val="FFFFFF"/>
                          </a:highlight>
                        </a:rPr>
                        <a:t>denní průměr včetně víkendů</a:t>
                      </a:r>
                      <a:endParaRPr lang="en-US" sz="1200" dirty="0">
                        <a:highlight>
                          <a:srgbClr val="FFFFFF"/>
                        </a:highlight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highlight>
                            <a:srgbClr val="FFFFFF"/>
                          </a:highlight>
                        </a:rPr>
                        <a:t>denní průměr v pracovních dnech</a:t>
                      </a:r>
                      <a:endParaRPr lang="cs-CZ" sz="1200" dirty="0">
                        <a:highlight>
                          <a:srgbClr val="FFFFFF"/>
                        </a:highlight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8491739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indent="0" algn="l" fontAlgn="b"/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  <a:r>
                        <a:rPr lang="cs-CZ" sz="1450" b="1" u="none" strike="noStrike" dirty="0">
                          <a:effectLst/>
                        </a:rPr>
                        <a:t>.–13. 6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4 tisíc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8 tisíc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2 tisíc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3 tisíce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1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0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57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21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75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6621032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50" u="none" strike="noStrike" dirty="0">
                          <a:effectLst/>
                        </a:rPr>
                        <a:t>Období </a:t>
                      </a:r>
                      <a:r>
                        <a:rPr lang="cs-CZ" sz="1450" b="1" u="none" strike="noStrike" dirty="0">
                          <a:effectLst/>
                        </a:rPr>
                        <a:t>14.–20. 6.</a:t>
                      </a:r>
                      <a:endParaRPr lang="cs-CZ" sz="14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0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4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0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8 tisíce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3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05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92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48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62736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1</a:t>
                      </a:r>
                      <a:r>
                        <a:rPr lang="cs-CZ" sz="1450" b="1" u="none" strike="noStrike" dirty="0">
                          <a:effectLst/>
                        </a:rPr>
                        <a:t>.–27. 6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7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2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9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,4 tisíce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65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66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630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3466947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indent="0" algn="l" fontAlgn="b"/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8. 6.</a:t>
                      </a:r>
                      <a:r>
                        <a:rPr lang="cs-CZ" sz="1450" b="1" u="none" strike="noStrike" dirty="0">
                          <a:effectLst/>
                        </a:rPr>
                        <a:t>–4. 7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5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0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7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,1 tisíce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7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36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44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723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7246171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.</a:t>
                      </a:r>
                      <a:r>
                        <a:rPr lang="cs-CZ" sz="1450" b="1" u="none" strike="noStrike" dirty="0">
                          <a:effectLst/>
                        </a:rPr>
                        <a:t>–11. 7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4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8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6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,8 tisíce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14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25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828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9339872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.</a:t>
                      </a:r>
                      <a:r>
                        <a:rPr lang="cs-CZ" sz="1450" b="1" u="none" strike="noStrike" dirty="0">
                          <a:effectLst/>
                        </a:rPr>
                        <a:t>–18. 7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3 tisíce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7 tisíce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5 tisíce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6,6 tisíce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97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08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947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651041"/>
                  </a:ext>
                </a:extLst>
              </a:tr>
            </a:tbl>
          </a:graphicData>
        </a:graphic>
      </p:graphicFrame>
      <p:sp>
        <p:nvSpPr>
          <p:cNvPr id="9" name="TextovéPole 8">
            <a:extLst>
              <a:ext uri="{FF2B5EF4-FFF2-40B4-BE49-F238E27FC236}">
                <a16:creationId xmlns:a16="http://schemas.microsoft.com/office/drawing/2014/main" id="{E4A0DC13-0AB7-42C0-B44A-C8095E8723E9}"/>
              </a:ext>
            </a:extLst>
          </p:cNvPr>
          <p:cNvSpPr txBox="1"/>
          <p:nvPr/>
        </p:nvSpPr>
        <p:spPr>
          <a:xfrm>
            <a:off x="45720" y="6279426"/>
            <a:ext cx="12090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200" dirty="0">
                <a:solidFill>
                  <a:schemeClr val="accent1"/>
                </a:solidFill>
              </a:rPr>
              <a:t>Predikované počty odpovídají modelovaným hodnotám (kalibrovaným na hodnoty pozorované v pracovních dnech), naměřené hodnoty zahrnují všechny počty hlášené do databáze, včetně potenciálně nižších záchytů nemoci v nepracovních dnech. V případě denního průměrného počtu jsou uvedeny i hodnoty, které zahrnují pouze pracovní dny.</a:t>
            </a:r>
          </a:p>
        </p:txBody>
      </p:sp>
    </p:spTree>
    <p:extLst>
      <p:ext uri="{BB962C8B-B14F-4D97-AF65-F5344CB8AC3E}">
        <p14:creationId xmlns:p14="http://schemas.microsoft.com/office/powerpoint/2010/main" val="3077394728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B1276870-99EE-4D94-8977-D4A2442A6BF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22891836"/>
              </p:ext>
            </p:extLst>
          </p:nvPr>
        </p:nvGraphicFramePr>
        <p:xfrm>
          <a:off x="556549" y="3273786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399F9D63-C378-4018-B97A-C6FF1B38BBF2}"/>
              </a:ext>
            </a:extLst>
          </p:cNvPr>
          <p:cNvSpPr txBox="1"/>
          <p:nvPr/>
        </p:nvSpPr>
        <p:spPr>
          <a:xfrm>
            <a:off x="214075" y="1050497"/>
            <a:ext cx="38671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 dle hodnoty reprodukčního čísla 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69B8FCCD-AB42-495D-8900-E0EDAF4D3695}"/>
              </a:ext>
            </a:extLst>
          </p:cNvPr>
          <p:cNvSpPr txBox="1"/>
          <p:nvPr/>
        </p:nvSpPr>
        <p:spPr>
          <a:xfrm>
            <a:off x="4792918" y="638978"/>
            <a:ext cx="5031486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vý scénář (R = 1,10)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915432FB-02C6-4A48-823E-AAFFD38F04CD}"/>
              </a:ext>
            </a:extLst>
          </p:cNvPr>
          <p:cNvSpPr txBox="1"/>
          <p:nvPr/>
        </p:nvSpPr>
        <p:spPr>
          <a:xfrm>
            <a:off x="4792918" y="1947883"/>
            <a:ext cx="5031486" cy="369332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zpomalení (R = 0,70)</a:t>
            </a:r>
          </a:p>
        </p:txBody>
      </p:sp>
      <p:cxnSp>
        <p:nvCxnSpPr>
          <p:cNvPr id="10" name="Přímá spojnice se šipkou 9">
            <a:extLst>
              <a:ext uri="{FF2B5EF4-FFF2-40B4-BE49-F238E27FC236}">
                <a16:creationId xmlns:a16="http://schemas.microsoft.com/office/drawing/2014/main" id="{2FBBF0DE-751C-4A8D-9688-745F518DEA63}"/>
              </a:ext>
            </a:extLst>
          </p:cNvPr>
          <p:cNvCxnSpPr/>
          <p:nvPr/>
        </p:nvCxnSpPr>
        <p:spPr>
          <a:xfrm flipV="1">
            <a:off x="4154743" y="864532"/>
            <a:ext cx="523875" cy="56949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Přímá spojnice se šipkou 10">
            <a:extLst>
              <a:ext uri="{FF2B5EF4-FFF2-40B4-BE49-F238E27FC236}">
                <a16:creationId xmlns:a16="http://schemas.microsoft.com/office/drawing/2014/main" id="{427BD7B2-178E-45A0-B634-921C0C8A629F}"/>
              </a:ext>
            </a:extLst>
          </p:cNvPr>
          <p:cNvCxnSpPr/>
          <p:nvPr/>
        </p:nvCxnSpPr>
        <p:spPr>
          <a:xfrm>
            <a:off x="4154743" y="1503447"/>
            <a:ext cx="523875" cy="64073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6">
            <a:extLst>
              <a:ext uri="{FF2B5EF4-FFF2-40B4-BE49-F238E27FC236}">
                <a16:creationId xmlns:a16="http://schemas.microsoft.com/office/drawing/2014/main" id="{69CEF138-18A8-4271-9FEF-402DB7C25B86}"/>
              </a:ext>
            </a:extLst>
          </p:cNvPr>
          <p:cNvSpPr txBox="1"/>
          <p:nvPr/>
        </p:nvSpPr>
        <p:spPr>
          <a:xfrm>
            <a:off x="489851" y="2893021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D297EC6B-32AF-493A-B2A7-B285C8CEF178}"/>
              </a:ext>
            </a:extLst>
          </p:cNvPr>
          <p:cNvSpPr txBox="1"/>
          <p:nvPr/>
        </p:nvSpPr>
        <p:spPr>
          <a:xfrm>
            <a:off x="4475378" y="2789253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10</a:t>
            </a: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3C9B186B-8163-428B-A364-E90D3144B57D}"/>
              </a:ext>
            </a:extLst>
          </p:cNvPr>
          <p:cNvSpPr/>
          <p:nvPr/>
        </p:nvSpPr>
        <p:spPr>
          <a:xfrm>
            <a:off x="7952761" y="2841929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35669B2F-D612-4664-B709-53D98132D57A}"/>
              </a:ext>
            </a:extLst>
          </p:cNvPr>
          <p:cNvSpPr txBox="1"/>
          <p:nvPr/>
        </p:nvSpPr>
        <p:spPr>
          <a:xfrm>
            <a:off x="8249942" y="2790122"/>
            <a:ext cx="15734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9" name="Přímá spojnice 18">
            <a:extLst>
              <a:ext uri="{FF2B5EF4-FFF2-40B4-BE49-F238E27FC236}">
                <a16:creationId xmlns:a16="http://schemas.microsoft.com/office/drawing/2014/main" id="{76B85254-1A7D-488E-9830-3F99A7742F43}"/>
              </a:ext>
            </a:extLst>
          </p:cNvPr>
          <p:cNvCxnSpPr>
            <a:cxnSpLocks/>
          </p:cNvCxnSpPr>
          <p:nvPr/>
        </p:nvCxnSpPr>
        <p:spPr>
          <a:xfrm>
            <a:off x="4180633" y="2944288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7DE1342D-EB8B-4B07-AF76-9D71853830EC}"/>
              </a:ext>
            </a:extLst>
          </p:cNvPr>
          <p:cNvSpPr txBox="1"/>
          <p:nvPr/>
        </p:nvSpPr>
        <p:spPr>
          <a:xfrm>
            <a:off x="4475378" y="3014473"/>
            <a:ext cx="313540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0	</a:t>
            </a:r>
          </a:p>
        </p:txBody>
      </p: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E4706C2C-C343-4CD4-BC4A-ED6979CFCE85}"/>
              </a:ext>
            </a:extLst>
          </p:cNvPr>
          <p:cNvCxnSpPr>
            <a:cxnSpLocks/>
          </p:cNvCxnSpPr>
          <p:nvPr/>
        </p:nvCxnSpPr>
        <p:spPr>
          <a:xfrm>
            <a:off x="4180633" y="3167595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24">
            <a:extLst>
              <a:ext uri="{FF2B5EF4-FFF2-40B4-BE49-F238E27FC236}">
                <a16:creationId xmlns:a16="http://schemas.microsoft.com/office/drawing/2014/main" id="{E453CAE8-274D-40EB-837F-1DFE06B3FC2E}"/>
              </a:ext>
            </a:extLst>
          </p:cNvPr>
          <p:cNvCxnSpPr>
            <a:cxnSpLocks/>
          </p:cNvCxnSpPr>
          <p:nvPr/>
        </p:nvCxnSpPr>
        <p:spPr>
          <a:xfrm>
            <a:off x="4180633" y="3387705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66CCB7E5-B893-4905-A783-B3A264BEFB90}"/>
              </a:ext>
            </a:extLst>
          </p:cNvPr>
          <p:cNvSpPr txBox="1"/>
          <p:nvPr/>
        </p:nvSpPr>
        <p:spPr>
          <a:xfrm>
            <a:off x="10091064" y="4065325"/>
            <a:ext cx="1544387" cy="83099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8. </a:t>
            </a:r>
            <a:r>
              <a:rPr lang="cs-CZ" sz="1200" b="1" dirty="0">
                <a:solidFill>
                  <a:prstClr val="black"/>
                </a:solidFill>
                <a:latin typeface="Calibri" panose="020F0502020204030204"/>
              </a:rPr>
              <a:t>7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2021</a:t>
            </a: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83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17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4 predikovaných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266137AA-9182-40A3-A142-5179882050AD}"/>
              </a:ext>
            </a:extLst>
          </p:cNvPr>
          <p:cNvSpPr txBox="1"/>
          <p:nvPr/>
        </p:nvSpPr>
        <p:spPr>
          <a:xfrm>
            <a:off x="4467521" y="3238409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7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</a:t>
            </a: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6. 2021, R aplikováno od 24. 5. 2021)</a:t>
            </a: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E32A18E1-478B-49B3-B19F-744DF92D3F6C}"/>
              </a:ext>
            </a:extLst>
          </p:cNvPr>
          <p:cNvSpPr txBox="1"/>
          <p:nvPr/>
        </p:nvSpPr>
        <p:spPr>
          <a:xfrm>
            <a:off x="7780712" y="4294618"/>
            <a:ext cx="1544387" cy="83099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b="1" dirty="0">
                <a:solidFill>
                  <a:prstClr val="black"/>
                </a:solidFill>
                <a:latin typeface="Calibri" panose="020F0502020204030204"/>
              </a:rPr>
              <a:t>30. 6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2021</a:t>
            </a: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59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21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6 predikovaných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22" name="Nadpis 1">
            <a:extLst>
              <a:ext uri="{FF2B5EF4-FFF2-40B4-BE49-F238E27FC236}">
                <a16:creationId xmlns:a16="http://schemas.microsoft.com/office/drawing/2014/main" id="{6518D429-51CE-40C1-89F9-ADE1A20304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ce ve třech scénářích: Olomoucký kraj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B637B5CA-7ABB-4CAC-8917-2464D7474930}"/>
              </a:ext>
            </a:extLst>
          </p:cNvPr>
          <p:cNvGrpSpPr/>
          <p:nvPr/>
        </p:nvGrpSpPr>
        <p:grpSpPr>
          <a:xfrm>
            <a:off x="11077811" y="576002"/>
            <a:ext cx="1063351" cy="297378"/>
            <a:chOff x="12381439" y="4241938"/>
            <a:chExt cx="2118964" cy="592592"/>
          </a:xfrm>
        </p:grpSpPr>
        <p:pic>
          <p:nvPicPr>
            <p:cNvPr id="30" name="Obrázek 29">
              <a:extLst>
                <a:ext uri="{FF2B5EF4-FFF2-40B4-BE49-F238E27FC236}">
                  <a16:creationId xmlns:a16="http://schemas.microsoft.com/office/drawing/2014/main" id="{B67231B6-229F-40B5-B88A-FFD124DE20B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2381439" y="4338569"/>
              <a:ext cx="352232" cy="437330"/>
            </a:xfrm>
            <a:prstGeom prst="rect">
              <a:avLst/>
            </a:prstGeom>
          </p:spPr>
        </p:pic>
        <p:pic>
          <p:nvPicPr>
            <p:cNvPr id="31" name="Obrázek 30">
              <a:extLst>
                <a:ext uri="{FF2B5EF4-FFF2-40B4-BE49-F238E27FC236}">
                  <a16:creationId xmlns:a16="http://schemas.microsoft.com/office/drawing/2014/main" id="{72AC0F59-F4CD-4492-ADFE-D4AAAD6B6C3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t="7614" b="9791"/>
            <a:stretch/>
          </p:blipFill>
          <p:spPr>
            <a:xfrm>
              <a:off x="12855762" y="4241938"/>
              <a:ext cx="1644641" cy="592592"/>
            </a:xfrm>
            <a:prstGeom prst="rect">
              <a:avLst/>
            </a:prstGeom>
          </p:spPr>
        </p:pic>
      </p:grp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EF65C01F-9FF3-430A-B529-893A4925F5B8}"/>
              </a:ext>
            </a:extLst>
          </p:cNvPr>
          <p:cNvSpPr txBox="1"/>
          <p:nvPr/>
        </p:nvSpPr>
        <p:spPr>
          <a:xfrm>
            <a:off x="8249942" y="3001602"/>
            <a:ext cx="194504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pl-PL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 uzavřenému dni 27. 6. 2021</a:t>
            </a: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025726086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ulka 9">
            <a:extLst>
              <a:ext uri="{FF2B5EF4-FFF2-40B4-BE49-F238E27FC236}">
                <a16:creationId xmlns:a16="http://schemas.microsoft.com/office/drawing/2014/main" id="{2CDF3C9D-B366-482C-9DEE-848BF9D72A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69982345"/>
              </p:ext>
            </p:extLst>
          </p:nvPr>
        </p:nvGraphicFramePr>
        <p:xfrm>
          <a:off x="45720" y="1318054"/>
          <a:ext cx="12108951" cy="5019468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18422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3468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93810515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272550134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889585356"/>
                    </a:ext>
                  </a:extLst>
                </a:gridCol>
                <a:gridCol w="1116000">
                  <a:extLst>
                    <a:ext uri="{9D8B030D-6E8A-4147-A177-3AD203B41FA5}">
                      <a16:colId xmlns:a16="http://schemas.microsoft.com/office/drawing/2014/main" val="3083214646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487868241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891010204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340384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264344487"/>
                    </a:ext>
                  </a:extLst>
                </a:gridCol>
                <a:gridCol w="1008000">
                  <a:extLst>
                    <a:ext uri="{9D8B030D-6E8A-4147-A177-3AD203B41FA5}">
                      <a16:colId xmlns:a16="http://schemas.microsoft.com/office/drawing/2014/main" val="13148050"/>
                    </a:ext>
                  </a:extLst>
                </a:gridCol>
                <a:gridCol w="1008000">
                  <a:extLst>
                    <a:ext uri="{9D8B030D-6E8A-4147-A177-3AD203B41FA5}">
                      <a16:colId xmlns:a16="http://schemas.microsoft.com/office/drawing/2014/main" val="1091220691"/>
                    </a:ext>
                  </a:extLst>
                </a:gridCol>
              </a:tblGrid>
              <a:tr h="822960">
                <a:tc>
                  <a:txBody>
                    <a:bodyPr/>
                    <a:lstStyle/>
                    <a:p>
                      <a:pPr algn="l"/>
                      <a:endParaRPr lang="cs-CZ" sz="16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cs-CZ" sz="1600" u="sng" dirty="0"/>
                        <a:t>Predikovaný celkový počet</a:t>
                      </a:r>
                      <a:r>
                        <a:rPr lang="cs-CZ" sz="1600" u="none" dirty="0"/>
                        <a:t> </a:t>
                      </a:r>
                      <a:br>
                        <a:rPr lang="cs-CZ" sz="1600" u="none" dirty="0"/>
                      </a:br>
                      <a:r>
                        <a:rPr lang="cs-CZ" sz="1600" u="none" dirty="0"/>
                        <a:t>N</a:t>
                      </a:r>
                      <a:r>
                        <a:rPr lang="cs-CZ" sz="1600" dirty="0"/>
                        <a:t>ově prokázané nákazy COVID-19</a:t>
                      </a:r>
                      <a:endParaRPr lang="cs-CZ" sz="1600" b="1" dirty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alita: naměřené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odnot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u="sng" dirty="0"/>
                        <a:t>Predikovaný průměrný denní počet</a:t>
                      </a:r>
                      <a:r>
                        <a:rPr lang="cs-CZ" sz="1600" dirty="0"/>
                        <a:t> Nově prokázané nákazy COVID-19</a:t>
                      </a:r>
                      <a:endParaRPr lang="cs-CZ" sz="16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600" b="1" dirty="0"/>
                        <a:t>Realita: naměřené</a:t>
                      </a:r>
                    </a:p>
                    <a:p>
                      <a:pPr algn="ctr"/>
                      <a:r>
                        <a:rPr lang="cs-CZ" sz="1600" b="1" dirty="0"/>
                        <a:t>hodnoty</a:t>
                      </a:r>
                      <a:endParaRPr lang="en-US" sz="16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16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87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odnota R</a:t>
                      </a:r>
                      <a:br>
                        <a:rPr lang="cs-CZ" sz="16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od 24</a:t>
                      </a:r>
                      <a:r>
                        <a:rPr lang="en-US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r>
                        <a:rPr lang="cs-CZ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5.)</a:t>
                      </a:r>
                      <a:endParaRPr lang="cs-CZ" sz="16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7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8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9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,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</a:t>
                      </a:r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FF"/>
                        </a:highlight>
                        <a:latin typeface="+mj-lt"/>
                      </a:endParaRP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7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8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9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,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</a:t>
                      </a:r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FF"/>
                        </a:highlight>
                        <a:latin typeface="+mj-lt"/>
                      </a:endParaRP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highlight>
                            <a:srgbClr val="FFFFFF"/>
                          </a:highlight>
                        </a:rPr>
                        <a:t>denní průměr včetně víkendů</a:t>
                      </a:r>
                      <a:endParaRPr lang="en-US" sz="1200" dirty="0">
                        <a:highlight>
                          <a:srgbClr val="FFFFFF"/>
                        </a:highlight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highlight>
                            <a:srgbClr val="FFFFFF"/>
                          </a:highlight>
                        </a:rPr>
                        <a:t>denní průměr v pracovních dnech</a:t>
                      </a:r>
                      <a:endParaRPr lang="cs-CZ" sz="1200" dirty="0">
                        <a:highlight>
                          <a:srgbClr val="FFFFFF"/>
                        </a:highlight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8491739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indent="0" algn="l" fontAlgn="b"/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  <a:r>
                        <a:rPr lang="cs-CZ" sz="1450" b="1" u="none" strike="noStrike" dirty="0">
                          <a:effectLst/>
                        </a:rPr>
                        <a:t>.–13. 6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 tisíce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 tisíce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 tisíce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 tisíce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6621032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50" u="none" strike="noStrike" dirty="0">
                          <a:effectLst/>
                        </a:rPr>
                        <a:t>Období </a:t>
                      </a:r>
                      <a:r>
                        <a:rPr lang="cs-CZ" sz="1450" b="1" u="none" strike="noStrike" dirty="0">
                          <a:effectLst/>
                        </a:rPr>
                        <a:t>14.–20. 6.</a:t>
                      </a:r>
                      <a:endParaRPr lang="cs-CZ" sz="14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 tisíce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 tisíce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 tisíce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62736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1</a:t>
                      </a:r>
                      <a:r>
                        <a:rPr lang="cs-CZ" sz="1450" b="1" u="none" strike="noStrike" dirty="0">
                          <a:effectLst/>
                        </a:rPr>
                        <a:t>.–27. 6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 tisíce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 tisíce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3466947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indent="0" algn="l" fontAlgn="b"/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8. 6.</a:t>
                      </a:r>
                      <a:r>
                        <a:rPr lang="cs-CZ" sz="1450" b="1" u="none" strike="noStrike" dirty="0">
                          <a:effectLst/>
                        </a:rPr>
                        <a:t>–4. 7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 tisíce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 tisíce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7246171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.</a:t>
                      </a:r>
                      <a:r>
                        <a:rPr lang="cs-CZ" sz="1450" b="1" u="none" strike="noStrike" dirty="0">
                          <a:effectLst/>
                        </a:rPr>
                        <a:t>–11. 7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 tisíce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 tisíce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9339872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.</a:t>
                      </a:r>
                      <a:r>
                        <a:rPr lang="cs-CZ" sz="1450" b="1" u="none" strike="noStrike" dirty="0">
                          <a:effectLst/>
                        </a:rPr>
                        <a:t>–18. 7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 tisíce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6 tisíce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651041"/>
                  </a:ext>
                </a:extLst>
              </a:tr>
            </a:tbl>
          </a:graphicData>
        </a:graphic>
      </p:graphicFrame>
      <p:sp>
        <p:nvSpPr>
          <p:cNvPr id="9" name="TextovéPole 8">
            <a:extLst>
              <a:ext uri="{FF2B5EF4-FFF2-40B4-BE49-F238E27FC236}">
                <a16:creationId xmlns:a16="http://schemas.microsoft.com/office/drawing/2014/main" id="{E4A0DC13-0AB7-42C0-B44A-C8095E8723E9}"/>
              </a:ext>
            </a:extLst>
          </p:cNvPr>
          <p:cNvSpPr txBox="1"/>
          <p:nvPr/>
        </p:nvSpPr>
        <p:spPr>
          <a:xfrm>
            <a:off x="45720" y="6388483"/>
            <a:ext cx="12090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200" dirty="0">
                <a:solidFill>
                  <a:schemeClr val="accent1"/>
                </a:solidFill>
              </a:rPr>
              <a:t>Predikované počty odpovídají modelovaným hodnotám (kalibrovaným na hodnoty pozorované v pracovních dnech), naměřené hodnoty zahrnují všechny počty hlášené do databáze, včetně potenciálně nižších záchytů nemoci v nepracovních dnech. V případě denního průměrného počtu jsou uvedeny i hodnoty, které zahrnují pouze pracovní dny.</a:t>
            </a:r>
          </a:p>
        </p:txBody>
      </p:sp>
      <p:sp>
        <p:nvSpPr>
          <p:cNvPr id="8" name="Nadpis 1">
            <a:extLst>
              <a:ext uri="{FF2B5EF4-FFF2-40B4-BE49-F238E27FC236}">
                <a16:creationId xmlns:a16="http://schemas.microsoft.com/office/drawing/2014/main" id="{DBBDF33E-D7ED-4B93-A481-745FE41008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558611" cy="576000"/>
          </a:xfrm>
        </p:spPr>
        <p:txBody>
          <a:bodyPr/>
          <a:lstStyle/>
          <a:p>
            <a:r>
              <a:rPr lang="cs-CZ" dirty="0" err="1"/>
              <a:t>Rekalibrace</a:t>
            </a:r>
            <a:r>
              <a:rPr lang="cs-CZ" dirty="0"/>
              <a:t> prediktivního modelu pro </a:t>
            </a:r>
            <a:r>
              <a:rPr lang="cs-CZ" u="sng" dirty="0"/>
              <a:t>nové scénáře</a:t>
            </a:r>
            <a:r>
              <a:rPr lang="cs-CZ" dirty="0"/>
              <a:t>: Olomoucký kraj</a:t>
            </a:r>
          </a:p>
        </p:txBody>
      </p:sp>
      <p:grpSp>
        <p:nvGrpSpPr>
          <p:cNvPr id="6" name="Skupina 5">
            <a:extLst>
              <a:ext uri="{FF2B5EF4-FFF2-40B4-BE49-F238E27FC236}">
                <a16:creationId xmlns:a16="http://schemas.microsoft.com/office/drawing/2014/main" id="{5AB2F23D-E80E-45DD-8B45-D8F414177976}"/>
              </a:ext>
            </a:extLst>
          </p:cNvPr>
          <p:cNvGrpSpPr/>
          <p:nvPr/>
        </p:nvGrpSpPr>
        <p:grpSpPr>
          <a:xfrm>
            <a:off x="11077811" y="920772"/>
            <a:ext cx="1063351" cy="297378"/>
            <a:chOff x="12381439" y="4241938"/>
            <a:chExt cx="2118964" cy="592592"/>
          </a:xfrm>
        </p:grpSpPr>
        <p:pic>
          <p:nvPicPr>
            <p:cNvPr id="7" name="Obrázek 6">
              <a:extLst>
                <a:ext uri="{FF2B5EF4-FFF2-40B4-BE49-F238E27FC236}">
                  <a16:creationId xmlns:a16="http://schemas.microsoft.com/office/drawing/2014/main" id="{1EB26929-B8F4-4A03-ABCA-810C0F5CF29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381439" y="4338569"/>
              <a:ext cx="352232" cy="437330"/>
            </a:xfrm>
            <a:prstGeom prst="rect">
              <a:avLst/>
            </a:prstGeom>
          </p:spPr>
        </p:pic>
        <p:pic>
          <p:nvPicPr>
            <p:cNvPr id="11" name="Obrázek 10">
              <a:extLst>
                <a:ext uri="{FF2B5EF4-FFF2-40B4-BE49-F238E27FC236}">
                  <a16:creationId xmlns:a16="http://schemas.microsoft.com/office/drawing/2014/main" id="{780C4E65-4A30-46E5-9C52-99E42B73699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t="7614" b="9791"/>
            <a:stretch/>
          </p:blipFill>
          <p:spPr>
            <a:xfrm>
              <a:off x="12855762" y="4241938"/>
              <a:ext cx="1644641" cy="592592"/>
            </a:xfrm>
            <a:prstGeom prst="rect">
              <a:avLst/>
            </a:prstGeom>
          </p:spPr>
        </p:pic>
      </p:grp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52D5EDE5-C69F-4154-9127-14FBCA146DE0}"/>
              </a:ext>
            </a:extLst>
          </p:cNvPr>
          <p:cNvSpPr txBox="1"/>
          <p:nvPr/>
        </p:nvSpPr>
        <p:spPr>
          <a:xfrm>
            <a:off x="0" y="576002"/>
            <a:ext cx="1231394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600" b="1" dirty="0">
                <a:solidFill>
                  <a:srgbClr val="000000"/>
                </a:solidFill>
              </a:rPr>
              <a:t>Epidemické křivky vytvořeny pomocí modelu pro krátkodobé predikce ÚZIS ČR, </a:t>
            </a:r>
            <a:r>
              <a:rPr lang="pl-PL" sz="1600" b="1" u="sng" dirty="0">
                <a:solidFill>
                  <a:srgbClr val="000000"/>
                </a:solidFill>
              </a:rPr>
              <a:t>predikce odpovídá údajům z 1. 6. 2021.</a:t>
            </a:r>
            <a:endParaRPr lang="cs-CZ" sz="1600" b="1" u="sng" dirty="0">
              <a:solidFill>
                <a:srgbClr val="000000"/>
              </a:solidFill>
            </a:endParaRPr>
          </a:p>
          <a:p>
            <a:pPr lvl="0">
              <a:defRPr/>
            </a:pPr>
            <a:r>
              <a:rPr lang="cs-CZ" sz="1200" b="1" dirty="0">
                <a:solidFill>
                  <a:srgbClr val="000000"/>
                </a:solidFill>
              </a:rPr>
              <a:t>Hodnota celorepublikového modelu byla lokalizovaná do příslušného kraje se zohledněním trendu nárůstu ve </a:t>
            </a:r>
            <a:r>
              <a:rPr lang="pl-PL" sz="1200" b="1" dirty="0">
                <a:solidFill>
                  <a:srgbClr val="000000"/>
                </a:solidFill>
              </a:rPr>
              <a:t>dnech 24. 5. až 31. 5.</a:t>
            </a:r>
          </a:p>
          <a:p>
            <a:pPr lvl="0">
              <a:defRPr/>
            </a:pPr>
            <a:r>
              <a:rPr lang="cs-CZ" sz="1200" b="1" dirty="0">
                <a:solidFill>
                  <a:srgbClr val="000000"/>
                </a:solidFill>
              </a:rPr>
              <a:t>Naměřené hodnoty jsou aktuální </a:t>
            </a:r>
            <a:r>
              <a:rPr lang="pl-PL" sz="1200" b="1" dirty="0">
                <a:solidFill>
                  <a:srgbClr val="000000"/>
                </a:solidFill>
              </a:rPr>
              <a:t>k uzavřenému dni 27. 6. 2021</a:t>
            </a:r>
            <a:r>
              <a:rPr lang="cs-CZ" sz="1200" b="1" dirty="0">
                <a:solidFill>
                  <a:srgbClr val="000000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728708838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B1276870-99EE-4D94-8977-D4A2442A6BF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96180165"/>
              </p:ext>
            </p:extLst>
          </p:nvPr>
        </p:nvGraphicFramePr>
        <p:xfrm>
          <a:off x="556549" y="867747"/>
          <a:ext cx="11354940" cy="5955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5" name="TextovéPole 14">
            <a:extLst>
              <a:ext uri="{FF2B5EF4-FFF2-40B4-BE49-F238E27FC236}">
                <a16:creationId xmlns:a16="http://schemas.microsoft.com/office/drawing/2014/main" id="{D297EC6B-32AF-493A-B2A7-B285C8CEF178}"/>
              </a:ext>
            </a:extLst>
          </p:cNvPr>
          <p:cNvSpPr txBox="1"/>
          <p:nvPr/>
        </p:nvSpPr>
        <p:spPr>
          <a:xfrm>
            <a:off x="1931960" y="976711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10</a:t>
            </a: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3C9B186B-8163-428B-A364-E90D3144B57D}"/>
              </a:ext>
            </a:extLst>
          </p:cNvPr>
          <p:cNvSpPr/>
          <p:nvPr/>
        </p:nvSpPr>
        <p:spPr>
          <a:xfrm>
            <a:off x="5175471" y="1053160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35669B2F-D612-4664-B709-53D98132D57A}"/>
              </a:ext>
            </a:extLst>
          </p:cNvPr>
          <p:cNvSpPr txBox="1"/>
          <p:nvPr/>
        </p:nvSpPr>
        <p:spPr>
          <a:xfrm>
            <a:off x="5472652" y="1001353"/>
            <a:ext cx="15734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9" name="Přímá spojnice 18">
            <a:extLst>
              <a:ext uri="{FF2B5EF4-FFF2-40B4-BE49-F238E27FC236}">
                <a16:creationId xmlns:a16="http://schemas.microsoft.com/office/drawing/2014/main" id="{76B85254-1A7D-488E-9830-3F99A7742F43}"/>
              </a:ext>
            </a:extLst>
          </p:cNvPr>
          <p:cNvCxnSpPr>
            <a:cxnSpLocks/>
          </p:cNvCxnSpPr>
          <p:nvPr/>
        </p:nvCxnSpPr>
        <p:spPr>
          <a:xfrm>
            <a:off x="1637215" y="1131746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7DE1342D-EB8B-4B07-AF76-9D71853830EC}"/>
              </a:ext>
            </a:extLst>
          </p:cNvPr>
          <p:cNvSpPr txBox="1"/>
          <p:nvPr/>
        </p:nvSpPr>
        <p:spPr>
          <a:xfrm>
            <a:off x="1931960" y="1201931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0</a:t>
            </a:r>
          </a:p>
        </p:txBody>
      </p: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E4706C2C-C343-4CD4-BC4A-ED6979CFCE85}"/>
              </a:ext>
            </a:extLst>
          </p:cNvPr>
          <p:cNvCxnSpPr>
            <a:cxnSpLocks/>
          </p:cNvCxnSpPr>
          <p:nvPr/>
        </p:nvCxnSpPr>
        <p:spPr>
          <a:xfrm>
            <a:off x="1637215" y="1355053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24">
            <a:extLst>
              <a:ext uri="{FF2B5EF4-FFF2-40B4-BE49-F238E27FC236}">
                <a16:creationId xmlns:a16="http://schemas.microsoft.com/office/drawing/2014/main" id="{E453CAE8-274D-40EB-837F-1DFE06B3FC2E}"/>
              </a:ext>
            </a:extLst>
          </p:cNvPr>
          <p:cNvCxnSpPr>
            <a:cxnSpLocks/>
          </p:cNvCxnSpPr>
          <p:nvPr/>
        </p:nvCxnSpPr>
        <p:spPr>
          <a:xfrm>
            <a:off x="1637215" y="1583552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66CCB7E5-B893-4905-A783-B3A264BEFB90}"/>
              </a:ext>
            </a:extLst>
          </p:cNvPr>
          <p:cNvSpPr txBox="1"/>
          <p:nvPr/>
        </p:nvSpPr>
        <p:spPr>
          <a:xfrm>
            <a:off x="9546722" y="2199307"/>
            <a:ext cx="1945049" cy="100027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b="1" dirty="0">
                <a:solidFill>
                  <a:prstClr val="black"/>
                </a:solidFill>
                <a:latin typeface="Calibri" panose="020F0502020204030204"/>
              </a:rPr>
              <a:t>18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7. 2021</a:t>
            </a:r>
          </a:p>
          <a:p>
            <a:pPr lvl="0" algn="r"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7denní </a:t>
            </a:r>
            <a:r>
              <a:rPr lang="cs-CZ" sz="1100" dirty="0" err="1">
                <a:solidFill>
                  <a:prstClr val="black"/>
                </a:solidFill>
                <a:latin typeface="Calibri" panose="020F0502020204030204"/>
              </a:rPr>
              <a:t>kum</a:t>
            </a: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. počet na 100 tis.)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87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19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4 na 100 tisíc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266137AA-9182-40A3-A142-5179882050AD}"/>
              </a:ext>
            </a:extLst>
          </p:cNvPr>
          <p:cNvSpPr txBox="1"/>
          <p:nvPr/>
        </p:nvSpPr>
        <p:spPr>
          <a:xfrm>
            <a:off x="1924103" y="1434256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70</a:t>
            </a:r>
          </a:p>
          <a:p>
            <a:pPr lvl="0"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scénáře ze dne 1. 6. 2021, R aplikováno od 24. 5. 2021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E32A18E1-478B-49B3-B19F-744DF92D3F6C}"/>
              </a:ext>
            </a:extLst>
          </p:cNvPr>
          <p:cNvSpPr txBox="1"/>
          <p:nvPr/>
        </p:nvSpPr>
        <p:spPr>
          <a:xfrm>
            <a:off x="7273125" y="2199307"/>
            <a:ext cx="1945048" cy="100027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b="1" dirty="0">
                <a:solidFill>
                  <a:prstClr val="black"/>
                </a:solidFill>
                <a:latin typeface="Calibri" panose="020F0502020204030204"/>
              </a:rPr>
              <a:t>30. 6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2021 </a:t>
            </a:r>
            <a:b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7denní </a:t>
            </a:r>
            <a:r>
              <a:rPr lang="cs-CZ" sz="1100" dirty="0" err="1">
                <a:solidFill>
                  <a:prstClr val="black"/>
                </a:solidFill>
                <a:latin typeface="Calibri" panose="020F0502020204030204"/>
              </a:rPr>
              <a:t>kum</a:t>
            </a: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. počet na 100 tis.)</a:t>
            </a:r>
            <a:endParaRPr kumimoji="0" lang="cs-CZ" sz="12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62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24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8 na 100 tisíc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30" name="TextBox 6">
            <a:extLst>
              <a:ext uri="{FF2B5EF4-FFF2-40B4-BE49-F238E27FC236}">
                <a16:creationId xmlns:a16="http://schemas.microsoft.com/office/drawing/2014/main" id="{8B058FAD-246D-4FB5-9A38-9461A45D5931}"/>
              </a:ext>
            </a:extLst>
          </p:cNvPr>
          <p:cNvSpPr txBox="1"/>
          <p:nvPr/>
        </p:nvSpPr>
        <p:spPr>
          <a:xfrm rot="16200000">
            <a:off x="-1483263" y="3360473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2AE1522-C017-42C8-A5BD-E7F3E887F3AA}"/>
              </a:ext>
            </a:extLst>
          </p:cNvPr>
          <p:cNvSpPr txBox="1"/>
          <p:nvPr/>
        </p:nvSpPr>
        <p:spPr>
          <a:xfrm>
            <a:off x="7780712" y="1826572"/>
            <a:ext cx="29732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i="1" dirty="0"/>
              <a:t>Predikované hodnoty </a:t>
            </a:r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C2CDA8BD-006D-42A8-BA88-064DA323F845}"/>
              </a:ext>
            </a:extLst>
          </p:cNvPr>
          <p:cNvSpPr txBox="1"/>
          <p:nvPr/>
        </p:nvSpPr>
        <p:spPr>
          <a:xfrm>
            <a:off x="11558187" y="3553360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00" b="1" dirty="0">
                <a:latin typeface="Calibri" panose="020F0502020204030204" pitchFamily="34" charset="0"/>
                <a:cs typeface="Calibri" panose="020F0502020204030204" pitchFamily="34" charset="0"/>
              </a:rPr>
              <a:t>100</a:t>
            </a:r>
          </a:p>
          <a:p>
            <a:r>
              <a:rPr lang="cs-CZ" sz="800" dirty="0">
                <a:latin typeface="Calibri" panose="020F0502020204030204" pitchFamily="34" charset="0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5B77FD62-F375-40BF-A635-0F86D4274581}"/>
              </a:ext>
            </a:extLst>
          </p:cNvPr>
          <p:cNvSpPr txBox="1"/>
          <p:nvPr/>
        </p:nvSpPr>
        <p:spPr>
          <a:xfrm>
            <a:off x="11577452" y="4621660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00" b="1" dirty="0">
                <a:latin typeface="Calibri" panose="020F0502020204030204" pitchFamily="34" charset="0"/>
                <a:cs typeface="Calibri" panose="020F0502020204030204" pitchFamily="34" charset="0"/>
              </a:rPr>
              <a:t>50</a:t>
            </a:r>
          </a:p>
          <a:p>
            <a:r>
              <a:rPr lang="cs-CZ" sz="800" dirty="0">
                <a:latin typeface="Calibri" panose="020F0502020204030204" pitchFamily="34" charset="0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31" name="Nadpis 1">
            <a:extLst>
              <a:ext uri="{FF2B5EF4-FFF2-40B4-BE49-F238E27FC236}">
                <a16:creationId xmlns:a16="http://schemas.microsoft.com/office/drawing/2014/main" id="{CFCC2C02-F284-4941-91C6-5CC2566B6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en-US" sz="1800" dirty="0" err="1">
                <a:latin typeface="+mj-lt"/>
              </a:rPr>
              <a:t>Modelov</a:t>
            </a:r>
            <a:r>
              <a:rPr lang="cs-CZ" sz="1800" dirty="0">
                <a:latin typeface="+mj-lt"/>
              </a:rPr>
              <a:t>é scénáře: 7denní hodnoty na 100 tisíc obyvatel: </a:t>
            </a:r>
            <a:r>
              <a:rPr lang="cs-CZ" sz="1800" dirty="0"/>
              <a:t>Olomoucký kraj</a:t>
            </a:r>
            <a:endParaRPr lang="cs-CZ" sz="1800" dirty="0">
              <a:latin typeface="+mj-lt"/>
            </a:endParaRPr>
          </a:p>
        </p:txBody>
      </p: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EE744899-4831-4573-9408-495F16CA9A16}"/>
              </a:ext>
            </a:extLst>
          </p:cNvPr>
          <p:cNvSpPr txBox="1"/>
          <p:nvPr/>
        </p:nvSpPr>
        <p:spPr>
          <a:xfrm>
            <a:off x="228000" y="6456056"/>
            <a:ext cx="1173470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100" dirty="0">
                <a:solidFill>
                  <a:schemeClr val="accent1"/>
                </a:solidFill>
              </a:rPr>
              <a:t>Hodnota celorepublikového modelu byla lokalizovaná do příslušného kraje se zohledněním trendu nárůstu ve dnech 24. 5. až 31. 5.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8EAAEC9C-9787-42E1-8FA6-6339E87A1247}"/>
              </a:ext>
            </a:extLst>
          </p:cNvPr>
          <p:cNvGrpSpPr/>
          <p:nvPr/>
        </p:nvGrpSpPr>
        <p:grpSpPr>
          <a:xfrm>
            <a:off x="11077811" y="576002"/>
            <a:ext cx="1063351" cy="297378"/>
            <a:chOff x="12381439" y="4241938"/>
            <a:chExt cx="2118964" cy="592592"/>
          </a:xfrm>
        </p:grpSpPr>
        <p:pic>
          <p:nvPicPr>
            <p:cNvPr id="33" name="Obrázek 32">
              <a:extLst>
                <a:ext uri="{FF2B5EF4-FFF2-40B4-BE49-F238E27FC236}">
                  <a16:creationId xmlns:a16="http://schemas.microsoft.com/office/drawing/2014/main" id="{3091EF52-9329-4CE6-B7B2-34AAEE6283E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2381439" y="4338569"/>
              <a:ext cx="352232" cy="437330"/>
            </a:xfrm>
            <a:prstGeom prst="rect">
              <a:avLst/>
            </a:prstGeom>
          </p:spPr>
        </p:pic>
        <p:pic>
          <p:nvPicPr>
            <p:cNvPr id="34" name="Obrázek 33">
              <a:extLst>
                <a:ext uri="{FF2B5EF4-FFF2-40B4-BE49-F238E27FC236}">
                  <a16:creationId xmlns:a16="http://schemas.microsoft.com/office/drawing/2014/main" id="{D6B9575F-24DE-4CAD-B5A2-0750DA68E1C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t="7614" b="9791"/>
            <a:stretch/>
          </p:blipFill>
          <p:spPr>
            <a:xfrm>
              <a:off x="12855762" y="4241938"/>
              <a:ext cx="1644641" cy="592592"/>
            </a:xfrm>
            <a:prstGeom prst="rect">
              <a:avLst/>
            </a:prstGeom>
          </p:spPr>
        </p:pic>
      </p:grp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3EF0CB23-A757-46B8-9D57-54A024210EF5}"/>
              </a:ext>
            </a:extLst>
          </p:cNvPr>
          <p:cNvSpPr txBox="1"/>
          <p:nvPr/>
        </p:nvSpPr>
        <p:spPr>
          <a:xfrm>
            <a:off x="5470252" y="1231063"/>
            <a:ext cx="194504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pl-PL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 uzavřenému dni 27. 6. 2021</a:t>
            </a: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115200532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B1276870-99EE-4D94-8977-D4A2442A6BF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72185565"/>
              </p:ext>
            </p:extLst>
          </p:nvPr>
        </p:nvGraphicFramePr>
        <p:xfrm>
          <a:off x="556549" y="3273786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399F9D63-C378-4018-B97A-C6FF1B38BBF2}"/>
              </a:ext>
            </a:extLst>
          </p:cNvPr>
          <p:cNvSpPr txBox="1"/>
          <p:nvPr/>
        </p:nvSpPr>
        <p:spPr>
          <a:xfrm>
            <a:off x="214075" y="1050497"/>
            <a:ext cx="38671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 dle hodnoty reprodukčního čísla 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69B8FCCD-AB42-495D-8900-E0EDAF4D3695}"/>
              </a:ext>
            </a:extLst>
          </p:cNvPr>
          <p:cNvSpPr txBox="1"/>
          <p:nvPr/>
        </p:nvSpPr>
        <p:spPr>
          <a:xfrm>
            <a:off x="4792918" y="638978"/>
            <a:ext cx="5031486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vý scénář (R = 1,10)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915432FB-02C6-4A48-823E-AAFFD38F04CD}"/>
              </a:ext>
            </a:extLst>
          </p:cNvPr>
          <p:cNvSpPr txBox="1"/>
          <p:nvPr/>
        </p:nvSpPr>
        <p:spPr>
          <a:xfrm>
            <a:off x="4792918" y="1947883"/>
            <a:ext cx="5031486" cy="369332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zpomalení (R = 0,70)</a:t>
            </a:r>
          </a:p>
        </p:txBody>
      </p:sp>
      <p:cxnSp>
        <p:nvCxnSpPr>
          <p:cNvPr id="10" name="Přímá spojnice se šipkou 9">
            <a:extLst>
              <a:ext uri="{FF2B5EF4-FFF2-40B4-BE49-F238E27FC236}">
                <a16:creationId xmlns:a16="http://schemas.microsoft.com/office/drawing/2014/main" id="{2FBBF0DE-751C-4A8D-9688-745F518DEA63}"/>
              </a:ext>
            </a:extLst>
          </p:cNvPr>
          <p:cNvCxnSpPr/>
          <p:nvPr/>
        </p:nvCxnSpPr>
        <p:spPr>
          <a:xfrm flipV="1">
            <a:off x="4154743" y="864532"/>
            <a:ext cx="523875" cy="56949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Přímá spojnice se šipkou 10">
            <a:extLst>
              <a:ext uri="{FF2B5EF4-FFF2-40B4-BE49-F238E27FC236}">
                <a16:creationId xmlns:a16="http://schemas.microsoft.com/office/drawing/2014/main" id="{427BD7B2-178E-45A0-B634-921C0C8A629F}"/>
              </a:ext>
            </a:extLst>
          </p:cNvPr>
          <p:cNvCxnSpPr/>
          <p:nvPr/>
        </p:nvCxnSpPr>
        <p:spPr>
          <a:xfrm>
            <a:off x="4154743" y="1503447"/>
            <a:ext cx="523875" cy="64073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6">
            <a:extLst>
              <a:ext uri="{FF2B5EF4-FFF2-40B4-BE49-F238E27FC236}">
                <a16:creationId xmlns:a16="http://schemas.microsoft.com/office/drawing/2014/main" id="{69CEF138-18A8-4271-9FEF-402DB7C25B86}"/>
              </a:ext>
            </a:extLst>
          </p:cNvPr>
          <p:cNvSpPr txBox="1"/>
          <p:nvPr/>
        </p:nvSpPr>
        <p:spPr>
          <a:xfrm>
            <a:off x="489851" y="2893021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D297EC6B-32AF-493A-B2A7-B285C8CEF178}"/>
              </a:ext>
            </a:extLst>
          </p:cNvPr>
          <p:cNvSpPr txBox="1"/>
          <p:nvPr/>
        </p:nvSpPr>
        <p:spPr>
          <a:xfrm>
            <a:off x="4475378" y="2789253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10</a:t>
            </a: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3C9B186B-8163-428B-A364-E90D3144B57D}"/>
              </a:ext>
            </a:extLst>
          </p:cNvPr>
          <p:cNvSpPr/>
          <p:nvPr/>
        </p:nvSpPr>
        <p:spPr>
          <a:xfrm>
            <a:off x="7952761" y="2841929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35669B2F-D612-4664-B709-53D98132D57A}"/>
              </a:ext>
            </a:extLst>
          </p:cNvPr>
          <p:cNvSpPr txBox="1"/>
          <p:nvPr/>
        </p:nvSpPr>
        <p:spPr>
          <a:xfrm>
            <a:off x="8249942" y="2790122"/>
            <a:ext cx="15734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9" name="Přímá spojnice 18">
            <a:extLst>
              <a:ext uri="{FF2B5EF4-FFF2-40B4-BE49-F238E27FC236}">
                <a16:creationId xmlns:a16="http://schemas.microsoft.com/office/drawing/2014/main" id="{76B85254-1A7D-488E-9830-3F99A7742F43}"/>
              </a:ext>
            </a:extLst>
          </p:cNvPr>
          <p:cNvCxnSpPr>
            <a:cxnSpLocks/>
          </p:cNvCxnSpPr>
          <p:nvPr/>
        </p:nvCxnSpPr>
        <p:spPr>
          <a:xfrm>
            <a:off x="4180633" y="2944288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7DE1342D-EB8B-4B07-AF76-9D71853830EC}"/>
              </a:ext>
            </a:extLst>
          </p:cNvPr>
          <p:cNvSpPr txBox="1"/>
          <p:nvPr/>
        </p:nvSpPr>
        <p:spPr>
          <a:xfrm>
            <a:off x="4475378" y="3014473"/>
            <a:ext cx="313540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0	</a:t>
            </a:r>
          </a:p>
        </p:txBody>
      </p: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E4706C2C-C343-4CD4-BC4A-ED6979CFCE85}"/>
              </a:ext>
            </a:extLst>
          </p:cNvPr>
          <p:cNvCxnSpPr>
            <a:cxnSpLocks/>
          </p:cNvCxnSpPr>
          <p:nvPr/>
        </p:nvCxnSpPr>
        <p:spPr>
          <a:xfrm>
            <a:off x="4180633" y="3167595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24">
            <a:extLst>
              <a:ext uri="{FF2B5EF4-FFF2-40B4-BE49-F238E27FC236}">
                <a16:creationId xmlns:a16="http://schemas.microsoft.com/office/drawing/2014/main" id="{E453CAE8-274D-40EB-837F-1DFE06B3FC2E}"/>
              </a:ext>
            </a:extLst>
          </p:cNvPr>
          <p:cNvCxnSpPr>
            <a:cxnSpLocks/>
          </p:cNvCxnSpPr>
          <p:nvPr/>
        </p:nvCxnSpPr>
        <p:spPr>
          <a:xfrm>
            <a:off x="4180633" y="3387705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66CCB7E5-B893-4905-A783-B3A264BEFB90}"/>
              </a:ext>
            </a:extLst>
          </p:cNvPr>
          <p:cNvSpPr txBox="1"/>
          <p:nvPr/>
        </p:nvSpPr>
        <p:spPr>
          <a:xfrm>
            <a:off x="10091064" y="4065325"/>
            <a:ext cx="1544387" cy="83099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8. </a:t>
            </a:r>
            <a:r>
              <a:rPr lang="cs-CZ" sz="1200" b="1" dirty="0">
                <a:solidFill>
                  <a:prstClr val="black"/>
                </a:solidFill>
                <a:latin typeface="Calibri" panose="020F0502020204030204"/>
              </a:rPr>
              <a:t>7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2021</a:t>
            </a: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84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17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4 predikovaných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266137AA-9182-40A3-A142-5179882050AD}"/>
              </a:ext>
            </a:extLst>
          </p:cNvPr>
          <p:cNvSpPr txBox="1"/>
          <p:nvPr/>
        </p:nvSpPr>
        <p:spPr>
          <a:xfrm>
            <a:off x="4467521" y="3238409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7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</a:t>
            </a: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6. 2021, R aplikováno od 24. 5. 2021)</a:t>
            </a: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E32A18E1-478B-49B3-B19F-744DF92D3F6C}"/>
              </a:ext>
            </a:extLst>
          </p:cNvPr>
          <p:cNvSpPr txBox="1"/>
          <p:nvPr/>
        </p:nvSpPr>
        <p:spPr>
          <a:xfrm>
            <a:off x="7780712" y="4294618"/>
            <a:ext cx="1544387" cy="83099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b="1" dirty="0">
                <a:solidFill>
                  <a:prstClr val="black"/>
                </a:solidFill>
                <a:latin typeface="Calibri" panose="020F0502020204030204"/>
              </a:rPr>
              <a:t>30. 6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2021</a:t>
            </a: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60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21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6 predikovaných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22" name="Nadpis 1">
            <a:extLst>
              <a:ext uri="{FF2B5EF4-FFF2-40B4-BE49-F238E27FC236}">
                <a16:creationId xmlns:a16="http://schemas.microsoft.com/office/drawing/2014/main" id="{6518D429-51CE-40C1-89F9-ADE1A20304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ce ve třech scénářích: Zlínský kraj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EE210122-DB31-48AA-8AC8-EFFE3245B4F9}"/>
              </a:ext>
            </a:extLst>
          </p:cNvPr>
          <p:cNvGrpSpPr/>
          <p:nvPr/>
        </p:nvGrpSpPr>
        <p:grpSpPr>
          <a:xfrm>
            <a:off x="10732168" y="598017"/>
            <a:ext cx="1459832" cy="336698"/>
            <a:chOff x="12350220" y="6820895"/>
            <a:chExt cx="2317881" cy="534600"/>
          </a:xfrm>
        </p:grpSpPr>
        <p:pic>
          <p:nvPicPr>
            <p:cNvPr id="30" name="Obrázek 29">
              <a:extLst>
                <a:ext uri="{FF2B5EF4-FFF2-40B4-BE49-F238E27FC236}">
                  <a16:creationId xmlns:a16="http://schemas.microsoft.com/office/drawing/2014/main" id="{2C333EC3-C379-4CD6-9480-FAECD12AA19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350220" y="6820895"/>
              <a:ext cx="534600" cy="534600"/>
            </a:xfrm>
            <a:prstGeom prst="rect">
              <a:avLst/>
            </a:prstGeom>
          </p:spPr>
        </p:pic>
        <p:pic>
          <p:nvPicPr>
            <p:cNvPr id="31" name="Obrázek 30">
              <a:extLst>
                <a:ext uri="{FF2B5EF4-FFF2-40B4-BE49-F238E27FC236}">
                  <a16:creationId xmlns:a16="http://schemas.microsoft.com/office/drawing/2014/main" id="{68E2DB84-5B2F-489B-85AC-0F5E2D56F84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4836" b="5966"/>
            <a:stretch/>
          </p:blipFill>
          <p:spPr>
            <a:xfrm>
              <a:off x="12927151" y="6867935"/>
              <a:ext cx="1740950" cy="433585"/>
            </a:xfrm>
            <a:prstGeom prst="rect">
              <a:avLst/>
            </a:prstGeom>
          </p:spPr>
        </p:pic>
      </p:grp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3F86DAD0-93AE-4DA1-ABE7-03D6AEC563D2}"/>
              </a:ext>
            </a:extLst>
          </p:cNvPr>
          <p:cNvSpPr txBox="1"/>
          <p:nvPr/>
        </p:nvSpPr>
        <p:spPr>
          <a:xfrm>
            <a:off x="8249942" y="3001602"/>
            <a:ext cx="194504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pl-PL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 uzavřenému dni 27. 6. 2021</a:t>
            </a: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30969095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ulka 9">
            <a:extLst>
              <a:ext uri="{FF2B5EF4-FFF2-40B4-BE49-F238E27FC236}">
                <a16:creationId xmlns:a16="http://schemas.microsoft.com/office/drawing/2014/main" id="{2CDF3C9D-B366-482C-9DEE-848BF9D72A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81256086"/>
              </p:ext>
            </p:extLst>
          </p:nvPr>
        </p:nvGraphicFramePr>
        <p:xfrm>
          <a:off x="45720" y="1318054"/>
          <a:ext cx="12108951" cy="5019468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18422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3468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93810515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272550134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889585356"/>
                    </a:ext>
                  </a:extLst>
                </a:gridCol>
                <a:gridCol w="1116000">
                  <a:extLst>
                    <a:ext uri="{9D8B030D-6E8A-4147-A177-3AD203B41FA5}">
                      <a16:colId xmlns:a16="http://schemas.microsoft.com/office/drawing/2014/main" val="3083214646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487868241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891010204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340384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264344487"/>
                    </a:ext>
                  </a:extLst>
                </a:gridCol>
                <a:gridCol w="1008000">
                  <a:extLst>
                    <a:ext uri="{9D8B030D-6E8A-4147-A177-3AD203B41FA5}">
                      <a16:colId xmlns:a16="http://schemas.microsoft.com/office/drawing/2014/main" val="13148050"/>
                    </a:ext>
                  </a:extLst>
                </a:gridCol>
                <a:gridCol w="1008000">
                  <a:extLst>
                    <a:ext uri="{9D8B030D-6E8A-4147-A177-3AD203B41FA5}">
                      <a16:colId xmlns:a16="http://schemas.microsoft.com/office/drawing/2014/main" val="1091220691"/>
                    </a:ext>
                  </a:extLst>
                </a:gridCol>
              </a:tblGrid>
              <a:tr h="822960">
                <a:tc>
                  <a:txBody>
                    <a:bodyPr/>
                    <a:lstStyle/>
                    <a:p>
                      <a:pPr algn="l"/>
                      <a:endParaRPr lang="cs-CZ" sz="16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cs-CZ" sz="1600" u="sng" dirty="0"/>
                        <a:t>Predikovaný celkový počet</a:t>
                      </a:r>
                      <a:r>
                        <a:rPr lang="cs-CZ" sz="1600" u="none" dirty="0"/>
                        <a:t> </a:t>
                      </a:r>
                      <a:br>
                        <a:rPr lang="cs-CZ" sz="1600" u="none" dirty="0"/>
                      </a:br>
                      <a:r>
                        <a:rPr lang="cs-CZ" sz="1600" u="none" dirty="0"/>
                        <a:t>N</a:t>
                      </a:r>
                      <a:r>
                        <a:rPr lang="cs-CZ" sz="1600" dirty="0"/>
                        <a:t>ově prokázané nákazy COVID-19</a:t>
                      </a:r>
                      <a:endParaRPr lang="cs-CZ" sz="1600" b="1" dirty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alita: naměřené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odnot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u="sng" dirty="0"/>
                        <a:t>Predikovaný průměrný denní počet</a:t>
                      </a:r>
                      <a:r>
                        <a:rPr lang="cs-CZ" sz="1600" dirty="0"/>
                        <a:t> Nově prokázané nákazy COVID-19</a:t>
                      </a:r>
                      <a:endParaRPr lang="cs-CZ" sz="16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600" b="1" dirty="0"/>
                        <a:t>Realita: naměřené</a:t>
                      </a:r>
                    </a:p>
                    <a:p>
                      <a:pPr algn="ctr"/>
                      <a:r>
                        <a:rPr lang="cs-CZ" sz="1600" b="1" dirty="0"/>
                        <a:t>hodnoty</a:t>
                      </a:r>
                      <a:endParaRPr lang="en-US" sz="16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16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87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odnota R</a:t>
                      </a:r>
                      <a:br>
                        <a:rPr lang="cs-CZ" sz="16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od 24</a:t>
                      </a:r>
                      <a:r>
                        <a:rPr lang="en-US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r>
                        <a:rPr lang="cs-CZ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5.)</a:t>
                      </a:r>
                      <a:endParaRPr lang="cs-CZ" sz="16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7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8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9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,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</a:t>
                      </a:r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FF"/>
                        </a:highlight>
                        <a:latin typeface="+mj-lt"/>
                      </a:endParaRP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7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8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9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,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</a:t>
                      </a:r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FF"/>
                        </a:highlight>
                        <a:latin typeface="+mj-lt"/>
                      </a:endParaRP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highlight>
                            <a:srgbClr val="FFFFFF"/>
                          </a:highlight>
                        </a:rPr>
                        <a:t>denní průměr včetně víkendů</a:t>
                      </a:r>
                      <a:endParaRPr lang="en-US" sz="1200" dirty="0">
                        <a:highlight>
                          <a:srgbClr val="FFFFFF"/>
                        </a:highlight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highlight>
                            <a:srgbClr val="FFFFFF"/>
                          </a:highlight>
                        </a:rPr>
                        <a:t>denní průměr v pracovních dnech</a:t>
                      </a:r>
                      <a:endParaRPr lang="cs-CZ" sz="1200" dirty="0">
                        <a:highlight>
                          <a:srgbClr val="FFFFFF"/>
                        </a:highlight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8491739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indent="0" algn="l" fontAlgn="b"/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  <a:r>
                        <a:rPr lang="cs-CZ" sz="1450" b="1" u="none" strike="noStrike" dirty="0">
                          <a:effectLst/>
                        </a:rPr>
                        <a:t>.–13. 6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 tisíce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 tisíce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 tisíce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 tisíce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6621032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50" u="none" strike="noStrike" dirty="0">
                          <a:effectLst/>
                        </a:rPr>
                        <a:t>Období </a:t>
                      </a:r>
                      <a:r>
                        <a:rPr lang="cs-CZ" sz="1450" b="1" u="none" strike="noStrike" dirty="0">
                          <a:effectLst/>
                        </a:rPr>
                        <a:t>14.–20. 6.</a:t>
                      </a:r>
                      <a:endParaRPr lang="cs-CZ" sz="14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 tisíce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 tisíce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 tisíce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62736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1</a:t>
                      </a:r>
                      <a:r>
                        <a:rPr lang="cs-CZ" sz="1450" b="1" u="none" strike="noStrike" dirty="0">
                          <a:effectLst/>
                        </a:rPr>
                        <a:t>.–27. 6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 tisíce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 tisíce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3466947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indent="0" algn="l" fontAlgn="b"/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8. 6.</a:t>
                      </a:r>
                      <a:r>
                        <a:rPr lang="cs-CZ" sz="1450" b="1" u="none" strike="noStrike" dirty="0">
                          <a:effectLst/>
                        </a:rPr>
                        <a:t>–4. 7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 tisíce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 tisíce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7246171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.</a:t>
                      </a:r>
                      <a:r>
                        <a:rPr lang="cs-CZ" sz="1450" b="1" u="none" strike="noStrike" dirty="0">
                          <a:effectLst/>
                        </a:rPr>
                        <a:t>–11. 7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 tisíce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 tisíce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9339872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.</a:t>
                      </a:r>
                      <a:r>
                        <a:rPr lang="cs-CZ" sz="1450" b="1" u="none" strike="noStrike" dirty="0">
                          <a:effectLst/>
                        </a:rPr>
                        <a:t>–18. 7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 tisíce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6 tisíce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651041"/>
                  </a:ext>
                </a:extLst>
              </a:tr>
            </a:tbl>
          </a:graphicData>
        </a:graphic>
      </p:graphicFrame>
      <p:sp>
        <p:nvSpPr>
          <p:cNvPr id="9" name="TextovéPole 8">
            <a:extLst>
              <a:ext uri="{FF2B5EF4-FFF2-40B4-BE49-F238E27FC236}">
                <a16:creationId xmlns:a16="http://schemas.microsoft.com/office/drawing/2014/main" id="{E4A0DC13-0AB7-42C0-B44A-C8095E8723E9}"/>
              </a:ext>
            </a:extLst>
          </p:cNvPr>
          <p:cNvSpPr txBox="1"/>
          <p:nvPr/>
        </p:nvSpPr>
        <p:spPr>
          <a:xfrm>
            <a:off x="45720" y="6388483"/>
            <a:ext cx="12090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200" dirty="0">
                <a:solidFill>
                  <a:schemeClr val="accent1"/>
                </a:solidFill>
              </a:rPr>
              <a:t>Predikované počty odpovídají modelovaným hodnotám (kalibrovaným na hodnoty pozorované v pracovních dnech), naměřené hodnoty zahrnují všechny počty hlášené do databáze, včetně potenciálně nižších záchytů nemoci v nepracovních dnech. V případě denního průměrného počtu jsou uvedeny i hodnoty, které zahrnují pouze pracovní dny.</a:t>
            </a:r>
          </a:p>
        </p:txBody>
      </p:sp>
      <p:sp>
        <p:nvSpPr>
          <p:cNvPr id="8" name="Nadpis 1">
            <a:extLst>
              <a:ext uri="{FF2B5EF4-FFF2-40B4-BE49-F238E27FC236}">
                <a16:creationId xmlns:a16="http://schemas.microsoft.com/office/drawing/2014/main" id="{DBBDF33E-D7ED-4B93-A481-745FE41008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558611" cy="576000"/>
          </a:xfrm>
        </p:spPr>
        <p:txBody>
          <a:bodyPr/>
          <a:lstStyle/>
          <a:p>
            <a:r>
              <a:rPr lang="cs-CZ" dirty="0" err="1"/>
              <a:t>Rekalibrace</a:t>
            </a:r>
            <a:r>
              <a:rPr lang="cs-CZ" dirty="0"/>
              <a:t> prediktivního modelu pro </a:t>
            </a:r>
            <a:r>
              <a:rPr lang="cs-CZ" u="sng" dirty="0"/>
              <a:t>nové scénáře</a:t>
            </a:r>
            <a:r>
              <a:rPr lang="cs-CZ" dirty="0"/>
              <a:t>:</a:t>
            </a:r>
            <a:br>
              <a:rPr lang="cs-CZ" dirty="0"/>
            </a:br>
            <a:r>
              <a:rPr lang="cs-CZ" dirty="0"/>
              <a:t>Zlínský kraj</a:t>
            </a:r>
          </a:p>
        </p:txBody>
      </p:sp>
      <p:grpSp>
        <p:nvGrpSpPr>
          <p:cNvPr id="6" name="Skupina 5">
            <a:extLst>
              <a:ext uri="{FF2B5EF4-FFF2-40B4-BE49-F238E27FC236}">
                <a16:creationId xmlns:a16="http://schemas.microsoft.com/office/drawing/2014/main" id="{4B5465A4-815F-449A-B026-BCD787BE939B}"/>
              </a:ext>
            </a:extLst>
          </p:cNvPr>
          <p:cNvGrpSpPr/>
          <p:nvPr/>
        </p:nvGrpSpPr>
        <p:grpSpPr>
          <a:xfrm>
            <a:off x="10732168" y="957778"/>
            <a:ext cx="1459832" cy="336698"/>
            <a:chOff x="12350220" y="6820895"/>
            <a:chExt cx="2317881" cy="534600"/>
          </a:xfrm>
        </p:grpSpPr>
        <p:pic>
          <p:nvPicPr>
            <p:cNvPr id="7" name="Obrázek 6">
              <a:extLst>
                <a:ext uri="{FF2B5EF4-FFF2-40B4-BE49-F238E27FC236}">
                  <a16:creationId xmlns:a16="http://schemas.microsoft.com/office/drawing/2014/main" id="{18CDE763-B646-42B6-87C2-D72CC161328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350220" y="6820895"/>
              <a:ext cx="534600" cy="534600"/>
            </a:xfrm>
            <a:prstGeom prst="rect">
              <a:avLst/>
            </a:prstGeom>
          </p:spPr>
        </p:pic>
        <p:pic>
          <p:nvPicPr>
            <p:cNvPr id="11" name="Obrázek 10">
              <a:extLst>
                <a:ext uri="{FF2B5EF4-FFF2-40B4-BE49-F238E27FC236}">
                  <a16:creationId xmlns:a16="http://schemas.microsoft.com/office/drawing/2014/main" id="{D0069905-4152-4999-992A-1A293F0D54D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4836" b="5966"/>
            <a:stretch/>
          </p:blipFill>
          <p:spPr>
            <a:xfrm>
              <a:off x="12927151" y="6867935"/>
              <a:ext cx="1740950" cy="433585"/>
            </a:xfrm>
            <a:prstGeom prst="rect">
              <a:avLst/>
            </a:prstGeom>
          </p:spPr>
        </p:pic>
      </p:grp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0DF47009-D84F-4EAF-8C44-F367E3654506}"/>
              </a:ext>
            </a:extLst>
          </p:cNvPr>
          <p:cNvSpPr txBox="1"/>
          <p:nvPr/>
        </p:nvSpPr>
        <p:spPr>
          <a:xfrm>
            <a:off x="0" y="576002"/>
            <a:ext cx="1231394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600" b="1" dirty="0">
                <a:solidFill>
                  <a:srgbClr val="000000"/>
                </a:solidFill>
              </a:rPr>
              <a:t>Epidemické křivky vytvořeny pomocí modelu pro krátkodobé predikce ÚZIS ČR, </a:t>
            </a:r>
            <a:r>
              <a:rPr lang="pl-PL" sz="1600" b="1" u="sng" dirty="0">
                <a:solidFill>
                  <a:srgbClr val="000000"/>
                </a:solidFill>
              </a:rPr>
              <a:t>predikce odpovídá údajům z 1. 6. 2021.</a:t>
            </a:r>
            <a:endParaRPr lang="cs-CZ" sz="1600" b="1" u="sng" dirty="0">
              <a:solidFill>
                <a:srgbClr val="000000"/>
              </a:solidFill>
            </a:endParaRPr>
          </a:p>
          <a:p>
            <a:pPr lvl="0">
              <a:defRPr/>
            </a:pPr>
            <a:r>
              <a:rPr lang="cs-CZ" sz="1200" b="1" dirty="0">
                <a:solidFill>
                  <a:srgbClr val="000000"/>
                </a:solidFill>
              </a:rPr>
              <a:t>Hodnota celorepublikového modelu byla lokalizovaná do příslušného kraje se zohledněním trendu nárůstu ve </a:t>
            </a:r>
            <a:r>
              <a:rPr lang="pl-PL" sz="1200" b="1" dirty="0">
                <a:solidFill>
                  <a:srgbClr val="000000"/>
                </a:solidFill>
              </a:rPr>
              <a:t>dnech 24. 5. až 31. 5.</a:t>
            </a:r>
          </a:p>
          <a:p>
            <a:pPr lvl="0">
              <a:defRPr/>
            </a:pPr>
            <a:r>
              <a:rPr lang="cs-CZ" sz="1200" b="1" dirty="0">
                <a:solidFill>
                  <a:srgbClr val="000000"/>
                </a:solidFill>
              </a:rPr>
              <a:t>Naměřené hodnoty jsou aktuální </a:t>
            </a:r>
            <a:r>
              <a:rPr lang="pl-PL" sz="1200" b="1" dirty="0">
                <a:solidFill>
                  <a:srgbClr val="000000"/>
                </a:solidFill>
              </a:rPr>
              <a:t>k uzavřenému dni 27. 6. 2021</a:t>
            </a:r>
            <a:r>
              <a:rPr lang="cs-CZ" sz="1200" b="1" dirty="0">
                <a:solidFill>
                  <a:srgbClr val="000000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466599239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B1276870-99EE-4D94-8977-D4A2442A6BF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5276124"/>
              </p:ext>
            </p:extLst>
          </p:nvPr>
        </p:nvGraphicFramePr>
        <p:xfrm>
          <a:off x="556549" y="867747"/>
          <a:ext cx="11354940" cy="5955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5" name="TextovéPole 14">
            <a:extLst>
              <a:ext uri="{FF2B5EF4-FFF2-40B4-BE49-F238E27FC236}">
                <a16:creationId xmlns:a16="http://schemas.microsoft.com/office/drawing/2014/main" id="{D297EC6B-32AF-493A-B2A7-B285C8CEF178}"/>
              </a:ext>
            </a:extLst>
          </p:cNvPr>
          <p:cNvSpPr txBox="1"/>
          <p:nvPr/>
        </p:nvSpPr>
        <p:spPr>
          <a:xfrm>
            <a:off x="1931960" y="976711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10</a:t>
            </a: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3C9B186B-8163-428B-A364-E90D3144B57D}"/>
              </a:ext>
            </a:extLst>
          </p:cNvPr>
          <p:cNvSpPr/>
          <p:nvPr/>
        </p:nvSpPr>
        <p:spPr>
          <a:xfrm>
            <a:off x="5175471" y="1053160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35669B2F-D612-4664-B709-53D98132D57A}"/>
              </a:ext>
            </a:extLst>
          </p:cNvPr>
          <p:cNvSpPr txBox="1"/>
          <p:nvPr/>
        </p:nvSpPr>
        <p:spPr>
          <a:xfrm>
            <a:off x="5472652" y="1001353"/>
            <a:ext cx="15734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9" name="Přímá spojnice 18">
            <a:extLst>
              <a:ext uri="{FF2B5EF4-FFF2-40B4-BE49-F238E27FC236}">
                <a16:creationId xmlns:a16="http://schemas.microsoft.com/office/drawing/2014/main" id="{76B85254-1A7D-488E-9830-3F99A7742F43}"/>
              </a:ext>
            </a:extLst>
          </p:cNvPr>
          <p:cNvCxnSpPr>
            <a:cxnSpLocks/>
          </p:cNvCxnSpPr>
          <p:nvPr/>
        </p:nvCxnSpPr>
        <p:spPr>
          <a:xfrm>
            <a:off x="1637215" y="1131746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7DE1342D-EB8B-4B07-AF76-9D71853830EC}"/>
              </a:ext>
            </a:extLst>
          </p:cNvPr>
          <p:cNvSpPr txBox="1"/>
          <p:nvPr/>
        </p:nvSpPr>
        <p:spPr>
          <a:xfrm>
            <a:off x="1931960" y="1201931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0</a:t>
            </a:r>
          </a:p>
        </p:txBody>
      </p: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E4706C2C-C343-4CD4-BC4A-ED6979CFCE85}"/>
              </a:ext>
            </a:extLst>
          </p:cNvPr>
          <p:cNvCxnSpPr>
            <a:cxnSpLocks/>
          </p:cNvCxnSpPr>
          <p:nvPr/>
        </p:nvCxnSpPr>
        <p:spPr>
          <a:xfrm>
            <a:off x="1637215" y="1355053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24">
            <a:extLst>
              <a:ext uri="{FF2B5EF4-FFF2-40B4-BE49-F238E27FC236}">
                <a16:creationId xmlns:a16="http://schemas.microsoft.com/office/drawing/2014/main" id="{E453CAE8-274D-40EB-837F-1DFE06B3FC2E}"/>
              </a:ext>
            </a:extLst>
          </p:cNvPr>
          <p:cNvCxnSpPr>
            <a:cxnSpLocks/>
          </p:cNvCxnSpPr>
          <p:nvPr/>
        </p:nvCxnSpPr>
        <p:spPr>
          <a:xfrm>
            <a:off x="1637215" y="1583552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66CCB7E5-B893-4905-A783-B3A264BEFB90}"/>
              </a:ext>
            </a:extLst>
          </p:cNvPr>
          <p:cNvSpPr txBox="1"/>
          <p:nvPr/>
        </p:nvSpPr>
        <p:spPr>
          <a:xfrm>
            <a:off x="9546722" y="2199307"/>
            <a:ext cx="1945049" cy="100027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b="1" dirty="0">
                <a:solidFill>
                  <a:prstClr val="black"/>
                </a:solidFill>
                <a:latin typeface="Calibri" panose="020F0502020204030204"/>
              </a:rPr>
              <a:t>18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7. 2021</a:t>
            </a:r>
          </a:p>
          <a:p>
            <a:pPr lvl="0" algn="r"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7denní </a:t>
            </a:r>
            <a:r>
              <a:rPr lang="cs-CZ" sz="1100" dirty="0" err="1">
                <a:solidFill>
                  <a:prstClr val="black"/>
                </a:solidFill>
                <a:latin typeface="Calibri" panose="020F0502020204030204"/>
              </a:rPr>
              <a:t>kum</a:t>
            </a: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. počet na 100 tis.)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96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21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5 na 100 tisíc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266137AA-9182-40A3-A142-5179882050AD}"/>
              </a:ext>
            </a:extLst>
          </p:cNvPr>
          <p:cNvSpPr txBox="1"/>
          <p:nvPr/>
        </p:nvSpPr>
        <p:spPr>
          <a:xfrm>
            <a:off x="1924103" y="1434256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70</a:t>
            </a:r>
          </a:p>
          <a:p>
            <a:pPr lvl="0"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scénáře ze dne 1. 6. 2021, R aplikováno od 24. 5. 2021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E32A18E1-478B-49B3-B19F-744DF92D3F6C}"/>
              </a:ext>
            </a:extLst>
          </p:cNvPr>
          <p:cNvSpPr txBox="1"/>
          <p:nvPr/>
        </p:nvSpPr>
        <p:spPr>
          <a:xfrm>
            <a:off x="7273125" y="2199307"/>
            <a:ext cx="1945048" cy="100027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b="1" dirty="0">
                <a:solidFill>
                  <a:prstClr val="black"/>
                </a:solidFill>
                <a:latin typeface="Calibri" panose="020F0502020204030204"/>
              </a:rPr>
              <a:t>30. 6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2021 </a:t>
            </a:r>
            <a:b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7denní </a:t>
            </a:r>
            <a:r>
              <a:rPr lang="cs-CZ" sz="1100" dirty="0" err="1">
                <a:solidFill>
                  <a:prstClr val="black"/>
                </a:solidFill>
                <a:latin typeface="Calibri" panose="020F0502020204030204"/>
              </a:rPr>
              <a:t>kum</a:t>
            </a: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. počet na 100 tis.)</a:t>
            </a:r>
            <a:endParaRPr kumimoji="0" lang="cs-CZ" sz="12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67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26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9 na 100 tisíc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30" name="TextBox 6">
            <a:extLst>
              <a:ext uri="{FF2B5EF4-FFF2-40B4-BE49-F238E27FC236}">
                <a16:creationId xmlns:a16="http://schemas.microsoft.com/office/drawing/2014/main" id="{8B058FAD-246D-4FB5-9A38-9461A45D5931}"/>
              </a:ext>
            </a:extLst>
          </p:cNvPr>
          <p:cNvSpPr txBox="1"/>
          <p:nvPr/>
        </p:nvSpPr>
        <p:spPr>
          <a:xfrm rot="16200000">
            <a:off x="-1483263" y="3360473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2AE1522-C017-42C8-A5BD-E7F3E887F3AA}"/>
              </a:ext>
            </a:extLst>
          </p:cNvPr>
          <p:cNvSpPr txBox="1"/>
          <p:nvPr/>
        </p:nvSpPr>
        <p:spPr>
          <a:xfrm>
            <a:off x="7780712" y="1826572"/>
            <a:ext cx="29732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i="1" dirty="0"/>
              <a:t>Predikované hodnoty </a:t>
            </a:r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C2CDA8BD-006D-42A8-BA88-064DA323F845}"/>
              </a:ext>
            </a:extLst>
          </p:cNvPr>
          <p:cNvSpPr txBox="1"/>
          <p:nvPr/>
        </p:nvSpPr>
        <p:spPr>
          <a:xfrm>
            <a:off x="11605916" y="3814351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00" b="1" dirty="0">
                <a:latin typeface="Calibri" panose="020F0502020204030204" pitchFamily="34" charset="0"/>
                <a:cs typeface="Calibri" panose="020F0502020204030204" pitchFamily="34" charset="0"/>
              </a:rPr>
              <a:t>100</a:t>
            </a:r>
          </a:p>
          <a:p>
            <a:r>
              <a:rPr lang="cs-CZ" sz="800" dirty="0">
                <a:latin typeface="Calibri" panose="020F0502020204030204" pitchFamily="34" charset="0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5B77FD62-F375-40BF-A635-0F86D4274581}"/>
              </a:ext>
            </a:extLst>
          </p:cNvPr>
          <p:cNvSpPr txBox="1"/>
          <p:nvPr/>
        </p:nvSpPr>
        <p:spPr>
          <a:xfrm>
            <a:off x="11577452" y="4621660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00" b="1" dirty="0">
                <a:latin typeface="Calibri" panose="020F0502020204030204" pitchFamily="34" charset="0"/>
                <a:cs typeface="Calibri" panose="020F0502020204030204" pitchFamily="34" charset="0"/>
              </a:rPr>
              <a:t>50</a:t>
            </a:r>
          </a:p>
          <a:p>
            <a:r>
              <a:rPr lang="cs-CZ" sz="800" dirty="0">
                <a:latin typeface="Calibri" panose="020F0502020204030204" pitchFamily="34" charset="0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31" name="Nadpis 1">
            <a:extLst>
              <a:ext uri="{FF2B5EF4-FFF2-40B4-BE49-F238E27FC236}">
                <a16:creationId xmlns:a16="http://schemas.microsoft.com/office/drawing/2014/main" id="{CFCC2C02-F284-4941-91C6-5CC2566B6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en-US" sz="1800" dirty="0" err="1">
                <a:latin typeface="+mj-lt"/>
              </a:rPr>
              <a:t>Modelov</a:t>
            </a:r>
            <a:r>
              <a:rPr lang="cs-CZ" sz="1800" dirty="0">
                <a:latin typeface="+mj-lt"/>
              </a:rPr>
              <a:t>é scénáře: 7denní hodnoty na 100 tisíc obyvatel:</a:t>
            </a:r>
            <a:br>
              <a:rPr lang="cs-CZ" sz="1800" dirty="0">
                <a:latin typeface="+mj-lt"/>
              </a:rPr>
            </a:br>
            <a:r>
              <a:rPr lang="cs-CZ" sz="1800" dirty="0"/>
              <a:t>Zlínský kraj</a:t>
            </a:r>
            <a:endParaRPr lang="cs-CZ" sz="1800" dirty="0">
              <a:latin typeface="+mj-lt"/>
            </a:endParaRPr>
          </a:p>
        </p:txBody>
      </p: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EE744899-4831-4573-9408-495F16CA9A16}"/>
              </a:ext>
            </a:extLst>
          </p:cNvPr>
          <p:cNvSpPr txBox="1"/>
          <p:nvPr/>
        </p:nvSpPr>
        <p:spPr>
          <a:xfrm>
            <a:off x="228000" y="6456056"/>
            <a:ext cx="1173470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100" dirty="0">
                <a:solidFill>
                  <a:schemeClr val="accent1"/>
                </a:solidFill>
              </a:rPr>
              <a:t>Hodnota celorepublikového modelu byla lokalizovaná do příslušného kraje se zohledněním trendu nárůstu ve dnech 24. 5. až 31. 5.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ABBEF440-9B73-4678-85E1-C7EA118090D8}"/>
              </a:ext>
            </a:extLst>
          </p:cNvPr>
          <p:cNvGrpSpPr/>
          <p:nvPr/>
        </p:nvGrpSpPr>
        <p:grpSpPr>
          <a:xfrm>
            <a:off x="10732168" y="598017"/>
            <a:ext cx="1459832" cy="336698"/>
            <a:chOff x="12350220" y="6820895"/>
            <a:chExt cx="2317881" cy="534600"/>
          </a:xfrm>
        </p:grpSpPr>
        <p:pic>
          <p:nvPicPr>
            <p:cNvPr id="33" name="Obrázek 32">
              <a:extLst>
                <a:ext uri="{FF2B5EF4-FFF2-40B4-BE49-F238E27FC236}">
                  <a16:creationId xmlns:a16="http://schemas.microsoft.com/office/drawing/2014/main" id="{FEC49A19-88DC-4B7C-9826-5AF41E51014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350220" y="6820895"/>
              <a:ext cx="534600" cy="534600"/>
            </a:xfrm>
            <a:prstGeom prst="rect">
              <a:avLst/>
            </a:prstGeom>
          </p:spPr>
        </p:pic>
        <p:pic>
          <p:nvPicPr>
            <p:cNvPr id="34" name="Obrázek 33">
              <a:extLst>
                <a:ext uri="{FF2B5EF4-FFF2-40B4-BE49-F238E27FC236}">
                  <a16:creationId xmlns:a16="http://schemas.microsoft.com/office/drawing/2014/main" id="{6E485FB9-C538-4482-A44B-56C3E56E708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4836" b="5966"/>
            <a:stretch/>
          </p:blipFill>
          <p:spPr>
            <a:xfrm>
              <a:off x="12927151" y="6867935"/>
              <a:ext cx="1740950" cy="433585"/>
            </a:xfrm>
            <a:prstGeom prst="rect">
              <a:avLst/>
            </a:prstGeom>
          </p:spPr>
        </p:pic>
      </p:grpSp>
      <p:sp>
        <p:nvSpPr>
          <p:cNvPr id="36" name="TextovéPole 35">
            <a:extLst>
              <a:ext uri="{FF2B5EF4-FFF2-40B4-BE49-F238E27FC236}">
                <a16:creationId xmlns:a16="http://schemas.microsoft.com/office/drawing/2014/main" id="{BBC86650-2E22-4382-A1F6-EEB6EF1667BA}"/>
              </a:ext>
            </a:extLst>
          </p:cNvPr>
          <p:cNvSpPr txBox="1"/>
          <p:nvPr/>
        </p:nvSpPr>
        <p:spPr>
          <a:xfrm>
            <a:off x="5470252" y="1231063"/>
            <a:ext cx="194504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pl-PL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 uzavřenému dni 27. 6. 2021</a:t>
            </a: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830644522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B1276870-99EE-4D94-8977-D4A2442A6BF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91527744"/>
              </p:ext>
            </p:extLst>
          </p:nvPr>
        </p:nvGraphicFramePr>
        <p:xfrm>
          <a:off x="556549" y="3273786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399F9D63-C378-4018-B97A-C6FF1B38BBF2}"/>
              </a:ext>
            </a:extLst>
          </p:cNvPr>
          <p:cNvSpPr txBox="1"/>
          <p:nvPr/>
        </p:nvSpPr>
        <p:spPr>
          <a:xfrm>
            <a:off x="214075" y="1050497"/>
            <a:ext cx="38671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 dle hodnoty reprodukčního čísla 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69B8FCCD-AB42-495D-8900-E0EDAF4D3695}"/>
              </a:ext>
            </a:extLst>
          </p:cNvPr>
          <p:cNvSpPr txBox="1"/>
          <p:nvPr/>
        </p:nvSpPr>
        <p:spPr>
          <a:xfrm>
            <a:off x="4792918" y="638978"/>
            <a:ext cx="5031486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vý scénář (R = 1,10)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915432FB-02C6-4A48-823E-AAFFD38F04CD}"/>
              </a:ext>
            </a:extLst>
          </p:cNvPr>
          <p:cNvSpPr txBox="1"/>
          <p:nvPr/>
        </p:nvSpPr>
        <p:spPr>
          <a:xfrm>
            <a:off x="4792918" y="1947883"/>
            <a:ext cx="5031486" cy="369332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zpomalení (R = 0,70)</a:t>
            </a:r>
          </a:p>
        </p:txBody>
      </p:sp>
      <p:cxnSp>
        <p:nvCxnSpPr>
          <p:cNvPr id="10" name="Přímá spojnice se šipkou 9">
            <a:extLst>
              <a:ext uri="{FF2B5EF4-FFF2-40B4-BE49-F238E27FC236}">
                <a16:creationId xmlns:a16="http://schemas.microsoft.com/office/drawing/2014/main" id="{2FBBF0DE-751C-4A8D-9688-745F518DEA63}"/>
              </a:ext>
            </a:extLst>
          </p:cNvPr>
          <p:cNvCxnSpPr/>
          <p:nvPr/>
        </p:nvCxnSpPr>
        <p:spPr>
          <a:xfrm flipV="1">
            <a:off x="4154743" y="864532"/>
            <a:ext cx="523875" cy="56949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Přímá spojnice se šipkou 10">
            <a:extLst>
              <a:ext uri="{FF2B5EF4-FFF2-40B4-BE49-F238E27FC236}">
                <a16:creationId xmlns:a16="http://schemas.microsoft.com/office/drawing/2014/main" id="{427BD7B2-178E-45A0-B634-921C0C8A629F}"/>
              </a:ext>
            </a:extLst>
          </p:cNvPr>
          <p:cNvCxnSpPr/>
          <p:nvPr/>
        </p:nvCxnSpPr>
        <p:spPr>
          <a:xfrm>
            <a:off x="4154743" y="1503447"/>
            <a:ext cx="523875" cy="64073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6">
            <a:extLst>
              <a:ext uri="{FF2B5EF4-FFF2-40B4-BE49-F238E27FC236}">
                <a16:creationId xmlns:a16="http://schemas.microsoft.com/office/drawing/2014/main" id="{69CEF138-18A8-4271-9FEF-402DB7C25B86}"/>
              </a:ext>
            </a:extLst>
          </p:cNvPr>
          <p:cNvSpPr txBox="1"/>
          <p:nvPr/>
        </p:nvSpPr>
        <p:spPr>
          <a:xfrm>
            <a:off x="489851" y="2893021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D297EC6B-32AF-493A-B2A7-B285C8CEF178}"/>
              </a:ext>
            </a:extLst>
          </p:cNvPr>
          <p:cNvSpPr txBox="1"/>
          <p:nvPr/>
        </p:nvSpPr>
        <p:spPr>
          <a:xfrm>
            <a:off x="4475378" y="2789253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10</a:t>
            </a: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3C9B186B-8163-428B-A364-E90D3144B57D}"/>
              </a:ext>
            </a:extLst>
          </p:cNvPr>
          <p:cNvSpPr/>
          <p:nvPr/>
        </p:nvSpPr>
        <p:spPr>
          <a:xfrm>
            <a:off x="7952761" y="2841929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35669B2F-D612-4664-B709-53D98132D57A}"/>
              </a:ext>
            </a:extLst>
          </p:cNvPr>
          <p:cNvSpPr txBox="1"/>
          <p:nvPr/>
        </p:nvSpPr>
        <p:spPr>
          <a:xfrm>
            <a:off x="8249942" y="2790122"/>
            <a:ext cx="15734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9" name="Přímá spojnice 18">
            <a:extLst>
              <a:ext uri="{FF2B5EF4-FFF2-40B4-BE49-F238E27FC236}">
                <a16:creationId xmlns:a16="http://schemas.microsoft.com/office/drawing/2014/main" id="{76B85254-1A7D-488E-9830-3F99A7742F43}"/>
              </a:ext>
            </a:extLst>
          </p:cNvPr>
          <p:cNvCxnSpPr>
            <a:cxnSpLocks/>
          </p:cNvCxnSpPr>
          <p:nvPr/>
        </p:nvCxnSpPr>
        <p:spPr>
          <a:xfrm>
            <a:off x="4180633" y="2944288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7DE1342D-EB8B-4B07-AF76-9D71853830EC}"/>
              </a:ext>
            </a:extLst>
          </p:cNvPr>
          <p:cNvSpPr txBox="1"/>
          <p:nvPr/>
        </p:nvSpPr>
        <p:spPr>
          <a:xfrm>
            <a:off x="4475378" y="3014473"/>
            <a:ext cx="313540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0	</a:t>
            </a:r>
          </a:p>
        </p:txBody>
      </p: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E4706C2C-C343-4CD4-BC4A-ED6979CFCE85}"/>
              </a:ext>
            </a:extLst>
          </p:cNvPr>
          <p:cNvCxnSpPr>
            <a:cxnSpLocks/>
          </p:cNvCxnSpPr>
          <p:nvPr/>
        </p:nvCxnSpPr>
        <p:spPr>
          <a:xfrm>
            <a:off x="4180633" y="3167595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24">
            <a:extLst>
              <a:ext uri="{FF2B5EF4-FFF2-40B4-BE49-F238E27FC236}">
                <a16:creationId xmlns:a16="http://schemas.microsoft.com/office/drawing/2014/main" id="{E453CAE8-274D-40EB-837F-1DFE06B3FC2E}"/>
              </a:ext>
            </a:extLst>
          </p:cNvPr>
          <p:cNvCxnSpPr>
            <a:cxnSpLocks/>
          </p:cNvCxnSpPr>
          <p:nvPr/>
        </p:nvCxnSpPr>
        <p:spPr>
          <a:xfrm>
            <a:off x="4180633" y="3387705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66CCB7E5-B893-4905-A783-B3A264BEFB90}"/>
              </a:ext>
            </a:extLst>
          </p:cNvPr>
          <p:cNvSpPr txBox="1"/>
          <p:nvPr/>
        </p:nvSpPr>
        <p:spPr>
          <a:xfrm>
            <a:off x="10091064" y="4065325"/>
            <a:ext cx="1544387" cy="83099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8. </a:t>
            </a:r>
            <a:r>
              <a:rPr lang="cs-CZ" sz="1200" b="1" dirty="0">
                <a:solidFill>
                  <a:prstClr val="black"/>
                </a:solidFill>
                <a:latin typeface="Calibri" panose="020F0502020204030204"/>
              </a:rPr>
              <a:t>7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2021</a:t>
            </a: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141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28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6 predikovaných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266137AA-9182-40A3-A142-5179882050AD}"/>
              </a:ext>
            </a:extLst>
          </p:cNvPr>
          <p:cNvSpPr txBox="1"/>
          <p:nvPr/>
        </p:nvSpPr>
        <p:spPr>
          <a:xfrm>
            <a:off x="4467521" y="3238409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7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</a:t>
            </a: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6. 2021, R aplikováno od 24. 5. 2021)</a:t>
            </a: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E32A18E1-478B-49B3-B19F-744DF92D3F6C}"/>
              </a:ext>
            </a:extLst>
          </p:cNvPr>
          <p:cNvSpPr txBox="1"/>
          <p:nvPr/>
        </p:nvSpPr>
        <p:spPr>
          <a:xfrm>
            <a:off x="7780712" y="4294618"/>
            <a:ext cx="1544387" cy="83099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b="1" dirty="0">
                <a:solidFill>
                  <a:prstClr val="black"/>
                </a:solidFill>
                <a:latin typeface="Calibri" panose="020F0502020204030204"/>
              </a:rPr>
              <a:t>30. 6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2021</a:t>
            </a: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100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35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11 predikovaných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22" name="Nadpis 1">
            <a:extLst>
              <a:ext uri="{FF2B5EF4-FFF2-40B4-BE49-F238E27FC236}">
                <a16:creationId xmlns:a16="http://schemas.microsoft.com/office/drawing/2014/main" id="{6518D429-51CE-40C1-89F9-ADE1A20304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ce ve třech scénářích: Moravskoslezský kraj</a:t>
            </a:r>
          </a:p>
        </p:txBody>
      </p:sp>
      <p:grpSp>
        <p:nvGrpSpPr>
          <p:cNvPr id="30" name="Skupina 29">
            <a:extLst>
              <a:ext uri="{FF2B5EF4-FFF2-40B4-BE49-F238E27FC236}">
                <a16:creationId xmlns:a16="http://schemas.microsoft.com/office/drawing/2014/main" id="{67A8D6D5-2BE1-4709-A9F9-AAD5E93A3096}"/>
              </a:ext>
            </a:extLst>
          </p:cNvPr>
          <p:cNvGrpSpPr/>
          <p:nvPr/>
        </p:nvGrpSpPr>
        <p:grpSpPr>
          <a:xfrm>
            <a:off x="10847672" y="616687"/>
            <a:ext cx="1260195" cy="293736"/>
            <a:chOff x="12375318" y="3580090"/>
            <a:chExt cx="2065512" cy="481446"/>
          </a:xfrm>
        </p:grpSpPr>
        <p:pic>
          <p:nvPicPr>
            <p:cNvPr id="31" name="Obrázek 30">
              <a:extLst>
                <a:ext uri="{FF2B5EF4-FFF2-40B4-BE49-F238E27FC236}">
                  <a16:creationId xmlns:a16="http://schemas.microsoft.com/office/drawing/2014/main" id="{BE316EE1-BD8B-434D-B8A6-41151101741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2375318" y="3607454"/>
              <a:ext cx="369831" cy="454082"/>
            </a:xfrm>
            <a:prstGeom prst="rect">
              <a:avLst/>
            </a:prstGeom>
          </p:spPr>
        </p:pic>
        <p:pic>
          <p:nvPicPr>
            <p:cNvPr id="32" name="Picture 2" descr="logo MoravskoslezskÃ½ kraj">
              <a:extLst>
                <a:ext uri="{FF2B5EF4-FFF2-40B4-BE49-F238E27FC236}">
                  <a16:creationId xmlns:a16="http://schemas.microsoft.com/office/drawing/2014/main" id="{6820DBB1-4D8C-45BE-990C-77BAF3B771C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855762" y="3580090"/>
              <a:ext cx="1585068" cy="4814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BAD0125A-DBBE-4B83-AC8B-F1767089A78B}"/>
              </a:ext>
            </a:extLst>
          </p:cNvPr>
          <p:cNvSpPr txBox="1"/>
          <p:nvPr/>
        </p:nvSpPr>
        <p:spPr>
          <a:xfrm>
            <a:off x="8249942" y="3001602"/>
            <a:ext cx="194504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pl-PL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 uzavřenému dni 27. 6. 2021</a:t>
            </a: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394677779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ulka 9">
            <a:extLst>
              <a:ext uri="{FF2B5EF4-FFF2-40B4-BE49-F238E27FC236}">
                <a16:creationId xmlns:a16="http://schemas.microsoft.com/office/drawing/2014/main" id="{2CDF3C9D-B366-482C-9DEE-848BF9D72A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19120689"/>
              </p:ext>
            </p:extLst>
          </p:nvPr>
        </p:nvGraphicFramePr>
        <p:xfrm>
          <a:off x="45720" y="1318054"/>
          <a:ext cx="12108951" cy="5019468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18422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3468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93810515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272550134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889585356"/>
                    </a:ext>
                  </a:extLst>
                </a:gridCol>
                <a:gridCol w="1116000">
                  <a:extLst>
                    <a:ext uri="{9D8B030D-6E8A-4147-A177-3AD203B41FA5}">
                      <a16:colId xmlns:a16="http://schemas.microsoft.com/office/drawing/2014/main" val="3083214646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487868241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891010204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340384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264344487"/>
                    </a:ext>
                  </a:extLst>
                </a:gridCol>
                <a:gridCol w="1008000">
                  <a:extLst>
                    <a:ext uri="{9D8B030D-6E8A-4147-A177-3AD203B41FA5}">
                      <a16:colId xmlns:a16="http://schemas.microsoft.com/office/drawing/2014/main" val="13148050"/>
                    </a:ext>
                  </a:extLst>
                </a:gridCol>
                <a:gridCol w="1008000">
                  <a:extLst>
                    <a:ext uri="{9D8B030D-6E8A-4147-A177-3AD203B41FA5}">
                      <a16:colId xmlns:a16="http://schemas.microsoft.com/office/drawing/2014/main" val="1091220691"/>
                    </a:ext>
                  </a:extLst>
                </a:gridCol>
              </a:tblGrid>
              <a:tr h="822960">
                <a:tc>
                  <a:txBody>
                    <a:bodyPr/>
                    <a:lstStyle/>
                    <a:p>
                      <a:pPr algn="l"/>
                      <a:endParaRPr lang="cs-CZ" sz="16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cs-CZ" sz="1600" u="sng" dirty="0"/>
                        <a:t>Predikovaný celkový počet</a:t>
                      </a:r>
                      <a:r>
                        <a:rPr lang="cs-CZ" sz="1600" u="none" dirty="0"/>
                        <a:t> </a:t>
                      </a:r>
                      <a:br>
                        <a:rPr lang="cs-CZ" sz="1600" u="none" dirty="0"/>
                      </a:br>
                      <a:r>
                        <a:rPr lang="cs-CZ" sz="1600" u="none" dirty="0"/>
                        <a:t>N</a:t>
                      </a:r>
                      <a:r>
                        <a:rPr lang="cs-CZ" sz="1600" dirty="0"/>
                        <a:t>ově prokázané nákazy COVID-19</a:t>
                      </a:r>
                      <a:endParaRPr lang="cs-CZ" sz="1600" b="1" dirty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alita: naměřené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odnot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u="sng" dirty="0"/>
                        <a:t>Predikovaný průměrný denní počet</a:t>
                      </a:r>
                      <a:r>
                        <a:rPr lang="cs-CZ" sz="1600" dirty="0"/>
                        <a:t> Nově prokázané nákazy COVID-19</a:t>
                      </a:r>
                      <a:endParaRPr lang="cs-CZ" sz="16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600" b="1" dirty="0"/>
                        <a:t>Realita: naměřené</a:t>
                      </a:r>
                    </a:p>
                    <a:p>
                      <a:pPr algn="ctr"/>
                      <a:r>
                        <a:rPr lang="cs-CZ" sz="1600" b="1" dirty="0"/>
                        <a:t>hodnoty</a:t>
                      </a:r>
                      <a:endParaRPr lang="en-US" sz="16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16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87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odnota R</a:t>
                      </a:r>
                      <a:br>
                        <a:rPr lang="cs-CZ" sz="16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od 24</a:t>
                      </a:r>
                      <a:r>
                        <a:rPr lang="en-US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r>
                        <a:rPr lang="cs-CZ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5.)</a:t>
                      </a:r>
                      <a:endParaRPr lang="cs-CZ" sz="16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7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8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9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,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</a:t>
                      </a:r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FF"/>
                        </a:highlight>
                        <a:latin typeface="+mj-lt"/>
                      </a:endParaRP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7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8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9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,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</a:t>
                      </a:r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FF"/>
                        </a:highlight>
                        <a:latin typeface="+mj-lt"/>
                      </a:endParaRP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highlight>
                            <a:srgbClr val="FFFFFF"/>
                          </a:highlight>
                        </a:rPr>
                        <a:t>denní průměr včetně víkendů</a:t>
                      </a:r>
                      <a:endParaRPr lang="en-US" sz="1200" dirty="0">
                        <a:highlight>
                          <a:srgbClr val="FFFFFF"/>
                        </a:highlight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highlight>
                            <a:srgbClr val="FFFFFF"/>
                          </a:highlight>
                        </a:rPr>
                        <a:t>denní průměr v pracovních dnech</a:t>
                      </a:r>
                      <a:endParaRPr lang="cs-CZ" sz="1200" dirty="0">
                        <a:highlight>
                          <a:srgbClr val="FFFFFF"/>
                        </a:highlight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8491739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indent="0" algn="l" fontAlgn="b"/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  <a:r>
                        <a:rPr lang="cs-CZ" sz="1450" b="1" u="none" strike="noStrike" dirty="0">
                          <a:effectLst/>
                        </a:rPr>
                        <a:t>.–13. 6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 tisíce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 tisíce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 tisíce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 tisíce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6621032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50" u="none" strike="noStrike" dirty="0">
                          <a:effectLst/>
                        </a:rPr>
                        <a:t>Období </a:t>
                      </a:r>
                      <a:r>
                        <a:rPr lang="cs-CZ" sz="1450" b="1" u="none" strike="noStrike" dirty="0">
                          <a:effectLst/>
                        </a:rPr>
                        <a:t>14.–20. 6.</a:t>
                      </a:r>
                      <a:endParaRPr lang="cs-CZ" sz="14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 tisíce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 tisíce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 tisíce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 tisíce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62736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1</a:t>
                      </a:r>
                      <a:r>
                        <a:rPr lang="cs-CZ" sz="1450" b="1" u="none" strike="noStrike" dirty="0">
                          <a:effectLst/>
                        </a:rPr>
                        <a:t>.–27. 6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 tisíce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 tisíce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6 tisíce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3466947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indent="0" algn="l" fontAlgn="b"/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8. 6.</a:t>
                      </a:r>
                      <a:r>
                        <a:rPr lang="cs-CZ" sz="1450" b="1" u="none" strike="noStrike" dirty="0">
                          <a:effectLst/>
                        </a:rPr>
                        <a:t>–4. 7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 tisíce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 tisíce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7 tisíce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7246171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.</a:t>
                      </a:r>
                      <a:r>
                        <a:rPr lang="cs-CZ" sz="1450" b="1" u="none" strike="noStrike" dirty="0">
                          <a:effectLst/>
                        </a:rPr>
                        <a:t>–11. 7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 tisíce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 tisíce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8 tisíce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7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9339872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.</a:t>
                      </a:r>
                      <a:r>
                        <a:rPr lang="cs-CZ" sz="1450" b="1" u="none" strike="noStrike" dirty="0">
                          <a:effectLst/>
                        </a:rPr>
                        <a:t>–18. 7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 tisíce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9 tisíce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3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651041"/>
                  </a:ext>
                </a:extLst>
              </a:tr>
            </a:tbl>
          </a:graphicData>
        </a:graphic>
      </p:graphicFrame>
      <p:sp>
        <p:nvSpPr>
          <p:cNvPr id="9" name="TextovéPole 8">
            <a:extLst>
              <a:ext uri="{FF2B5EF4-FFF2-40B4-BE49-F238E27FC236}">
                <a16:creationId xmlns:a16="http://schemas.microsoft.com/office/drawing/2014/main" id="{E4A0DC13-0AB7-42C0-B44A-C8095E8723E9}"/>
              </a:ext>
            </a:extLst>
          </p:cNvPr>
          <p:cNvSpPr txBox="1"/>
          <p:nvPr/>
        </p:nvSpPr>
        <p:spPr>
          <a:xfrm>
            <a:off x="45720" y="6388483"/>
            <a:ext cx="12090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200" dirty="0">
                <a:solidFill>
                  <a:schemeClr val="accent1"/>
                </a:solidFill>
              </a:rPr>
              <a:t>Predikované počty odpovídají modelovaným hodnotám (kalibrovaným na hodnoty pozorované v pracovních dnech), naměřené hodnoty zahrnují všechny počty hlášené do databáze, včetně potenciálně nižších záchytů nemoci v nepracovních dnech. V případě denního průměrného počtu jsou uvedeny i hodnoty, které zahrnují pouze pracovní dny.</a:t>
            </a:r>
          </a:p>
        </p:txBody>
      </p:sp>
      <p:sp>
        <p:nvSpPr>
          <p:cNvPr id="8" name="Nadpis 1">
            <a:extLst>
              <a:ext uri="{FF2B5EF4-FFF2-40B4-BE49-F238E27FC236}">
                <a16:creationId xmlns:a16="http://schemas.microsoft.com/office/drawing/2014/main" id="{DBBDF33E-D7ED-4B93-A481-745FE41008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558611" cy="576000"/>
          </a:xfrm>
        </p:spPr>
        <p:txBody>
          <a:bodyPr/>
          <a:lstStyle/>
          <a:p>
            <a:r>
              <a:rPr lang="cs-CZ" dirty="0" err="1"/>
              <a:t>Rekalibrace</a:t>
            </a:r>
            <a:r>
              <a:rPr lang="cs-CZ" dirty="0"/>
              <a:t> prediktivního modelu pro </a:t>
            </a:r>
            <a:r>
              <a:rPr lang="cs-CZ" u="sng" dirty="0"/>
              <a:t>nové scénáře</a:t>
            </a:r>
            <a:r>
              <a:rPr lang="cs-CZ" dirty="0"/>
              <a:t>: Moravskoslezský kraj</a:t>
            </a:r>
          </a:p>
        </p:txBody>
      </p:sp>
      <p:grpSp>
        <p:nvGrpSpPr>
          <p:cNvPr id="6" name="Skupina 5">
            <a:extLst>
              <a:ext uri="{FF2B5EF4-FFF2-40B4-BE49-F238E27FC236}">
                <a16:creationId xmlns:a16="http://schemas.microsoft.com/office/drawing/2014/main" id="{84487A92-8099-4D29-99F2-07E0A38C7624}"/>
              </a:ext>
            </a:extLst>
          </p:cNvPr>
          <p:cNvGrpSpPr/>
          <p:nvPr/>
        </p:nvGrpSpPr>
        <p:grpSpPr>
          <a:xfrm>
            <a:off x="10847672" y="916490"/>
            <a:ext cx="1260195" cy="293736"/>
            <a:chOff x="12375318" y="3580090"/>
            <a:chExt cx="2065512" cy="481446"/>
          </a:xfrm>
        </p:grpSpPr>
        <p:pic>
          <p:nvPicPr>
            <p:cNvPr id="7" name="Obrázek 6">
              <a:extLst>
                <a:ext uri="{FF2B5EF4-FFF2-40B4-BE49-F238E27FC236}">
                  <a16:creationId xmlns:a16="http://schemas.microsoft.com/office/drawing/2014/main" id="{FC1B0337-71AB-4B51-9124-7373644569F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375318" y="3607454"/>
              <a:ext cx="369831" cy="454082"/>
            </a:xfrm>
            <a:prstGeom prst="rect">
              <a:avLst/>
            </a:prstGeom>
          </p:spPr>
        </p:pic>
        <p:pic>
          <p:nvPicPr>
            <p:cNvPr id="11" name="Picture 2" descr="logo MoravskoslezskÃ½ kraj">
              <a:extLst>
                <a:ext uri="{FF2B5EF4-FFF2-40B4-BE49-F238E27FC236}">
                  <a16:creationId xmlns:a16="http://schemas.microsoft.com/office/drawing/2014/main" id="{AA55CB4B-6F62-420B-BC94-9439F03B824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855762" y="3580090"/>
              <a:ext cx="1585068" cy="4814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44E00CED-ABC8-442A-8767-5F8885367FA4}"/>
              </a:ext>
            </a:extLst>
          </p:cNvPr>
          <p:cNvSpPr txBox="1"/>
          <p:nvPr/>
        </p:nvSpPr>
        <p:spPr>
          <a:xfrm>
            <a:off x="0" y="576002"/>
            <a:ext cx="1231394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600" b="1" dirty="0">
                <a:solidFill>
                  <a:srgbClr val="000000"/>
                </a:solidFill>
              </a:rPr>
              <a:t>Epidemické křivky vytvořeny pomocí modelu pro krátkodobé predikce ÚZIS ČR, </a:t>
            </a:r>
            <a:r>
              <a:rPr lang="pl-PL" sz="1600" b="1" u="sng" dirty="0">
                <a:solidFill>
                  <a:srgbClr val="000000"/>
                </a:solidFill>
              </a:rPr>
              <a:t>predikce odpovídá údajům z 1. 6. 2021.</a:t>
            </a:r>
            <a:endParaRPr lang="cs-CZ" sz="1600" b="1" u="sng" dirty="0">
              <a:solidFill>
                <a:srgbClr val="000000"/>
              </a:solidFill>
            </a:endParaRPr>
          </a:p>
          <a:p>
            <a:pPr lvl="0">
              <a:defRPr/>
            </a:pPr>
            <a:r>
              <a:rPr lang="cs-CZ" sz="1200" b="1" dirty="0">
                <a:solidFill>
                  <a:srgbClr val="000000"/>
                </a:solidFill>
              </a:rPr>
              <a:t>Hodnota celorepublikového modelu byla lokalizovaná do příslušného kraje se zohledněním trendu nárůstu ve </a:t>
            </a:r>
            <a:r>
              <a:rPr lang="pl-PL" sz="1200" b="1" dirty="0">
                <a:solidFill>
                  <a:srgbClr val="000000"/>
                </a:solidFill>
              </a:rPr>
              <a:t>dnech 24. 5. až 31. 5.</a:t>
            </a:r>
          </a:p>
          <a:p>
            <a:pPr lvl="0">
              <a:defRPr/>
            </a:pPr>
            <a:r>
              <a:rPr lang="cs-CZ" sz="1200" b="1" dirty="0">
                <a:solidFill>
                  <a:srgbClr val="000000"/>
                </a:solidFill>
              </a:rPr>
              <a:t>Naměřené hodnoty jsou aktuální </a:t>
            </a:r>
            <a:r>
              <a:rPr lang="pl-PL" sz="1200" b="1" dirty="0">
                <a:solidFill>
                  <a:srgbClr val="000000"/>
                </a:solidFill>
              </a:rPr>
              <a:t>k uzavřenému dni 27. 6. 2021</a:t>
            </a:r>
            <a:r>
              <a:rPr lang="cs-CZ" sz="1200" b="1" dirty="0">
                <a:solidFill>
                  <a:srgbClr val="000000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340544494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B1276870-99EE-4D94-8977-D4A2442A6BF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06162760"/>
              </p:ext>
            </p:extLst>
          </p:nvPr>
        </p:nvGraphicFramePr>
        <p:xfrm>
          <a:off x="556549" y="867747"/>
          <a:ext cx="11354940" cy="5955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5" name="TextovéPole 14">
            <a:extLst>
              <a:ext uri="{FF2B5EF4-FFF2-40B4-BE49-F238E27FC236}">
                <a16:creationId xmlns:a16="http://schemas.microsoft.com/office/drawing/2014/main" id="{D297EC6B-32AF-493A-B2A7-B285C8CEF178}"/>
              </a:ext>
            </a:extLst>
          </p:cNvPr>
          <p:cNvSpPr txBox="1"/>
          <p:nvPr/>
        </p:nvSpPr>
        <p:spPr>
          <a:xfrm>
            <a:off x="1931960" y="976711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10</a:t>
            </a: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3C9B186B-8163-428B-A364-E90D3144B57D}"/>
              </a:ext>
            </a:extLst>
          </p:cNvPr>
          <p:cNvSpPr/>
          <p:nvPr/>
        </p:nvSpPr>
        <p:spPr>
          <a:xfrm>
            <a:off x="5175471" y="1053160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35669B2F-D612-4664-B709-53D98132D57A}"/>
              </a:ext>
            </a:extLst>
          </p:cNvPr>
          <p:cNvSpPr txBox="1"/>
          <p:nvPr/>
        </p:nvSpPr>
        <p:spPr>
          <a:xfrm>
            <a:off x="5472652" y="1001353"/>
            <a:ext cx="15734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9" name="Přímá spojnice 18">
            <a:extLst>
              <a:ext uri="{FF2B5EF4-FFF2-40B4-BE49-F238E27FC236}">
                <a16:creationId xmlns:a16="http://schemas.microsoft.com/office/drawing/2014/main" id="{76B85254-1A7D-488E-9830-3F99A7742F43}"/>
              </a:ext>
            </a:extLst>
          </p:cNvPr>
          <p:cNvCxnSpPr>
            <a:cxnSpLocks/>
          </p:cNvCxnSpPr>
          <p:nvPr/>
        </p:nvCxnSpPr>
        <p:spPr>
          <a:xfrm>
            <a:off x="1637215" y="1131746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7DE1342D-EB8B-4B07-AF76-9D71853830EC}"/>
              </a:ext>
            </a:extLst>
          </p:cNvPr>
          <p:cNvSpPr txBox="1"/>
          <p:nvPr/>
        </p:nvSpPr>
        <p:spPr>
          <a:xfrm>
            <a:off x="1931960" y="1201931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0</a:t>
            </a:r>
          </a:p>
        </p:txBody>
      </p: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E4706C2C-C343-4CD4-BC4A-ED6979CFCE85}"/>
              </a:ext>
            </a:extLst>
          </p:cNvPr>
          <p:cNvCxnSpPr>
            <a:cxnSpLocks/>
          </p:cNvCxnSpPr>
          <p:nvPr/>
        </p:nvCxnSpPr>
        <p:spPr>
          <a:xfrm>
            <a:off x="1637215" y="1355053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24">
            <a:extLst>
              <a:ext uri="{FF2B5EF4-FFF2-40B4-BE49-F238E27FC236}">
                <a16:creationId xmlns:a16="http://schemas.microsoft.com/office/drawing/2014/main" id="{E453CAE8-274D-40EB-837F-1DFE06B3FC2E}"/>
              </a:ext>
            </a:extLst>
          </p:cNvPr>
          <p:cNvCxnSpPr>
            <a:cxnSpLocks/>
          </p:cNvCxnSpPr>
          <p:nvPr/>
        </p:nvCxnSpPr>
        <p:spPr>
          <a:xfrm>
            <a:off x="1637215" y="1583552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66CCB7E5-B893-4905-A783-B3A264BEFB90}"/>
              </a:ext>
            </a:extLst>
          </p:cNvPr>
          <p:cNvSpPr txBox="1"/>
          <p:nvPr/>
        </p:nvSpPr>
        <p:spPr>
          <a:xfrm>
            <a:off x="9546722" y="2199307"/>
            <a:ext cx="1945049" cy="100027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b="1" dirty="0">
                <a:solidFill>
                  <a:prstClr val="black"/>
                </a:solidFill>
                <a:latin typeface="Calibri" panose="020F0502020204030204"/>
              </a:rPr>
              <a:t>18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7. 2021</a:t>
            </a:r>
          </a:p>
          <a:p>
            <a:pPr lvl="0" algn="r"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7denní </a:t>
            </a:r>
            <a:r>
              <a:rPr lang="cs-CZ" sz="1100" dirty="0" err="1">
                <a:solidFill>
                  <a:prstClr val="black"/>
                </a:solidFill>
                <a:latin typeface="Calibri" panose="020F0502020204030204"/>
              </a:rPr>
              <a:t>kum</a:t>
            </a: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. počet na 100 tis.)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78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17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4 na 100 tisíc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266137AA-9182-40A3-A142-5179882050AD}"/>
              </a:ext>
            </a:extLst>
          </p:cNvPr>
          <p:cNvSpPr txBox="1"/>
          <p:nvPr/>
        </p:nvSpPr>
        <p:spPr>
          <a:xfrm>
            <a:off x="1924103" y="1434256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70</a:t>
            </a:r>
          </a:p>
          <a:p>
            <a:pPr lvl="0"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scénáře ze dne 1. 6. 2021, R aplikováno od 24. 5. 2021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E32A18E1-478B-49B3-B19F-744DF92D3F6C}"/>
              </a:ext>
            </a:extLst>
          </p:cNvPr>
          <p:cNvSpPr txBox="1"/>
          <p:nvPr/>
        </p:nvSpPr>
        <p:spPr>
          <a:xfrm>
            <a:off x="7273125" y="2199307"/>
            <a:ext cx="1945048" cy="100027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b="1" dirty="0">
                <a:solidFill>
                  <a:prstClr val="black"/>
                </a:solidFill>
                <a:latin typeface="Calibri" panose="020F0502020204030204"/>
              </a:rPr>
              <a:t>30. 6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2021 </a:t>
            </a:r>
            <a:b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7denní </a:t>
            </a:r>
            <a:r>
              <a:rPr lang="cs-CZ" sz="1100" dirty="0" err="1">
                <a:solidFill>
                  <a:prstClr val="black"/>
                </a:solidFill>
                <a:latin typeface="Calibri" panose="020F0502020204030204"/>
              </a:rPr>
              <a:t>kum</a:t>
            </a: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. počet na 100 tis.)</a:t>
            </a:r>
            <a:endParaRPr kumimoji="0" lang="cs-CZ" sz="12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55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21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7 na 100 tisíc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30" name="TextBox 6">
            <a:extLst>
              <a:ext uri="{FF2B5EF4-FFF2-40B4-BE49-F238E27FC236}">
                <a16:creationId xmlns:a16="http://schemas.microsoft.com/office/drawing/2014/main" id="{8B058FAD-246D-4FB5-9A38-9461A45D5931}"/>
              </a:ext>
            </a:extLst>
          </p:cNvPr>
          <p:cNvSpPr txBox="1"/>
          <p:nvPr/>
        </p:nvSpPr>
        <p:spPr>
          <a:xfrm rot="16200000">
            <a:off x="-1483263" y="3360473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2AE1522-C017-42C8-A5BD-E7F3E887F3AA}"/>
              </a:ext>
            </a:extLst>
          </p:cNvPr>
          <p:cNvSpPr txBox="1"/>
          <p:nvPr/>
        </p:nvSpPr>
        <p:spPr>
          <a:xfrm>
            <a:off x="7780712" y="1826572"/>
            <a:ext cx="29732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i="1" dirty="0"/>
              <a:t>Predikované hodnoty </a:t>
            </a:r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C2CDA8BD-006D-42A8-BA88-064DA323F845}"/>
              </a:ext>
            </a:extLst>
          </p:cNvPr>
          <p:cNvSpPr txBox="1"/>
          <p:nvPr/>
        </p:nvSpPr>
        <p:spPr>
          <a:xfrm>
            <a:off x="11558187" y="3553360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00" b="1" dirty="0">
                <a:latin typeface="Calibri" panose="020F0502020204030204" pitchFamily="34" charset="0"/>
                <a:cs typeface="Calibri" panose="020F0502020204030204" pitchFamily="34" charset="0"/>
              </a:rPr>
              <a:t>100</a:t>
            </a:r>
          </a:p>
          <a:p>
            <a:r>
              <a:rPr lang="cs-CZ" sz="800" dirty="0">
                <a:latin typeface="Calibri" panose="020F0502020204030204" pitchFamily="34" charset="0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5B77FD62-F375-40BF-A635-0F86D4274581}"/>
              </a:ext>
            </a:extLst>
          </p:cNvPr>
          <p:cNvSpPr txBox="1"/>
          <p:nvPr/>
        </p:nvSpPr>
        <p:spPr>
          <a:xfrm>
            <a:off x="11577452" y="4621660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00" b="1" dirty="0">
                <a:latin typeface="Calibri" panose="020F0502020204030204" pitchFamily="34" charset="0"/>
                <a:cs typeface="Calibri" panose="020F0502020204030204" pitchFamily="34" charset="0"/>
              </a:rPr>
              <a:t>50</a:t>
            </a:r>
          </a:p>
          <a:p>
            <a:r>
              <a:rPr lang="cs-CZ" sz="800" dirty="0">
                <a:latin typeface="Calibri" panose="020F0502020204030204" pitchFamily="34" charset="0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31" name="Nadpis 1">
            <a:extLst>
              <a:ext uri="{FF2B5EF4-FFF2-40B4-BE49-F238E27FC236}">
                <a16:creationId xmlns:a16="http://schemas.microsoft.com/office/drawing/2014/main" id="{CFCC2C02-F284-4941-91C6-5CC2566B6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en-US" sz="1800" dirty="0" err="1">
                <a:latin typeface="+mj-lt"/>
              </a:rPr>
              <a:t>Modelov</a:t>
            </a:r>
            <a:r>
              <a:rPr lang="cs-CZ" sz="1800" dirty="0">
                <a:latin typeface="+mj-lt"/>
              </a:rPr>
              <a:t>é scénáře: 7denní hodnoty na 100 tisíc obyvatel: </a:t>
            </a:r>
            <a:r>
              <a:rPr lang="cs-CZ" sz="1800" dirty="0"/>
              <a:t>Moravskoslezský kraj</a:t>
            </a:r>
            <a:endParaRPr lang="cs-CZ" sz="1800" dirty="0">
              <a:latin typeface="+mj-lt"/>
            </a:endParaRPr>
          </a:p>
        </p:txBody>
      </p: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EE744899-4831-4573-9408-495F16CA9A16}"/>
              </a:ext>
            </a:extLst>
          </p:cNvPr>
          <p:cNvSpPr txBox="1"/>
          <p:nvPr/>
        </p:nvSpPr>
        <p:spPr>
          <a:xfrm>
            <a:off x="228000" y="6456056"/>
            <a:ext cx="1173470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100" dirty="0">
                <a:solidFill>
                  <a:schemeClr val="accent1"/>
                </a:solidFill>
              </a:rPr>
              <a:t>Hodnota celorepublikového modelu byla lokalizovaná do příslušného kraje se zohledněním trendu nárůstu ve dnech 24. 5. až 31. 5.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93B28575-B676-4AB3-A35F-2AF5E956246F}"/>
              </a:ext>
            </a:extLst>
          </p:cNvPr>
          <p:cNvGrpSpPr/>
          <p:nvPr/>
        </p:nvGrpSpPr>
        <p:grpSpPr>
          <a:xfrm>
            <a:off x="10847672" y="616687"/>
            <a:ext cx="1260195" cy="293736"/>
            <a:chOff x="12375318" y="3580090"/>
            <a:chExt cx="2065512" cy="481446"/>
          </a:xfrm>
        </p:grpSpPr>
        <p:pic>
          <p:nvPicPr>
            <p:cNvPr id="33" name="Obrázek 32">
              <a:extLst>
                <a:ext uri="{FF2B5EF4-FFF2-40B4-BE49-F238E27FC236}">
                  <a16:creationId xmlns:a16="http://schemas.microsoft.com/office/drawing/2014/main" id="{B7DCF597-4193-4B75-86AF-8804BFB3876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2375318" y="3607454"/>
              <a:ext cx="369831" cy="454082"/>
            </a:xfrm>
            <a:prstGeom prst="rect">
              <a:avLst/>
            </a:prstGeom>
          </p:spPr>
        </p:pic>
        <p:pic>
          <p:nvPicPr>
            <p:cNvPr id="34" name="Picture 2" descr="logo MoravskoslezskÃ½ kraj">
              <a:extLst>
                <a:ext uri="{FF2B5EF4-FFF2-40B4-BE49-F238E27FC236}">
                  <a16:creationId xmlns:a16="http://schemas.microsoft.com/office/drawing/2014/main" id="{A6DD4F8C-022B-4E6A-A279-442EC18AA4D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855762" y="3580090"/>
              <a:ext cx="1585068" cy="4814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6" name="TextovéPole 35">
            <a:extLst>
              <a:ext uri="{FF2B5EF4-FFF2-40B4-BE49-F238E27FC236}">
                <a16:creationId xmlns:a16="http://schemas.microsoft.com/office/drawing/2014/main" id="{23889945-8DE5-4400-A2D2-9EC04BFD7504}"/>
              </a:ext>
            </a:extLst>
          </p:cNvPr>
          <p:cNvSpPr txBox="1"/>
          <p:nvPr/>
        </p:nvSpPr>
        <p:spPr>
          <a:xfrm>
            <a:off x="5470252" y="1231063"/>
            <a:ext cx="194504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pl-PL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 uzavřenému dni 27. 6. 2021</a:t>
            </a: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54181619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B1276870-99EE-4D94-8977-D4A2442A6BF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16821335"/>
              </p:ext>
            </p:extLst>
          </p:nvPr>
        </p:nvGraphicFramePr>
        <p:xfrm>
          <a:off x="556549" y="867747"/>
          <a:ext cx="11354940" cy="5955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en-US" dirty="0" err="1">
                <a:latin typeface="+mj-lt"/>
              </a:rPr>
              <a:t>Modelov</a:t>
            </a:r>
            <a:r>
              <a:rPr lang="cs-CZ" dirty="0">
                <a:latin typeface="+mj-lt"/>
              </a:rPr>
              <a:t>é scénáře: </a:t>
            </a:r>
            <a:r>
              <a:rPr lang="cs-CZ" dirty="0" err="1">
                <a:latin typeface="+mj-lt"/>
              </a:rPr>
              <a:t>7denní</a:t>
            </a:r>
            <a:r>
              <a:rPr lang="cs-CZ" dirty="0">
                <a:latin typeface="+mj-lt"/>
              </a:rPr>
              <a:t> hodnoty na 100 tisíc obyvatel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D297EC6B-32AF-493A-B2A7-B285C8CEF178}"/>
              </a:ext>
            </a:extLst>
          </p:cNvPr>
          <p:cNvSpPr txBox="1"/>
          <p:nvPr/>
        </p:nvSpPr>
        <p:spPr>
          <a:xfrm>
            <a:off x="1931960" y="976711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10</a:t>
            </a: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3C9B186B-8163-428B-A364-E90D3144B57D}"/>
              </a:ext>
            </a:extLst>
          </p:cNvPr>
          <p:cNvSpPr/>
          <p:nvPr/>
        </p:nvSpPr>
        <p:spPr>
          <a:xfrm>
            <a:off x="5175471" y="1053160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35669B2F-D612-4664-B709-53D98132D57A}"/>
              </a:ext>
            </a:extLst>
          </p:cNvPr>
          <p:cNvSpPr txBox="1"/>
          <p:nvPr/>
        </p:nvSpPr>
        <p:spPr>
          <a:xfrm>
            <a:off x="5472652" y="1001353"/>
            <a:ext cx="15734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9" name="Přímá spojnice 18">
            <a:extLst>
              <a:ext uri="{FF2B5EF4-FFF2-40B4-BE49-F238E27FC236}">
                <a16:creationId xmlns:a16="http://schemas.microsoft.com/office/drawing/2014/main" id="{76B85254-1A7D-488E-9830-3F99A7742F43}"/>
              </a:ext>
            </a:extLst>
          </p:cNvPr>
          <p:cNvCxnSpPr>
            <a:cxnSpLocks/>
          </p:cNvCxnSpPr>
          <p:nvPr/>
        </p:nvCxnSpPr>
        <p:spPr>
          <a:xfrm>
            <a:off x="1637215" y="1131746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7DE1342D-EB8B-4B07-AF76-9D71853830EC}"/>
              </a:ext>
            </a:extLst>
          </p:cNvPr>
          <p:cNvSpPr txBox="1"/>
          <p:nvPr/>
        </p:nvSpPr>
        <p:spPr>
          <a:xfrm>
            <a:off x="1931960" y="1201931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0</a:t>
            </a:r>
          </a:p>
        </p:txBody>
      </p: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E4706C2C-C343-4CD4-BC4A-ED6979CFCE85}"/>
              </a:ext>
            </a:extLst>
          </p:cNvPr>
          <p:cNvCxnSpPr>
            <a:cxnSpLocks/>
          </p:cNvCxnSpPr>
          <p:nvPr/>
        </p:nvCxnSpPr>
        <p:spPr>
          <a:xfrm>
            <a:off x="1637215" y="1355053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24">
            <a:extLst>
              <a:ext uri="{FF2B5EF4-FFF2-40B4-BE49-F238E27FC236}">
                <a16:creationId xmlns:a16="http://schemas.microsoft.com/office/drawing/2014/main" id="{E453CAE8-274D-40EB-837F-1DFE06B3FC2E}"/>
              </a:ext>
            </a:extLst>
          </p:cNvPr>
          <p:cNvCxnSpPr>
            <a:cxnSpLocks/>
          </p:cNvCxnSpPr>
          <p:nvPr/>
        </p:nvCxnSpPr>
        <p:spPr>
          <a:xfrm>
            <a:off x="1637215" y="1583552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66CCB7E5-B893-4905-A783-B3A264BEFB90}"/>
              </a:ext>
            </a:extLst>
          </p:cNvPr>
          <p:cNvSpPr txBox="1"/>
          <p:nvPr/>
        </p:nvSpPr>
        <p:spPr>
          <a:xfrm>
            <a:off x="9546722" y="2199307"/>
            <a:ext cx="1945049" cy="100027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b="1" dirty="0">
                <a:solidFill>
                  <a:prstClr val="black"/>
                </a:solidFill>
                <a:latin typeface="Calibri" panose="020F0502020204030204"/>
              </a:rPr>
              <a:t>18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7. 2021</a:t>
            </a:r>
          </a:p>
          <a:p>
            <a:pPr lvl="0" algn="r"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7denní </a:t>
            </a:r>
            <a:r>
              <a:rPr lang="cs-CZ" sz="1100" dirty="0" err="1">
                <a:solidFill>
                  <a:prstClr val="black"/>
                </a:solidFill>
                <a:latin typeface="Calibri" panose="020F0502020204030204"/>
              </a:rPr>
              <a:t>kum</a:t>
            </a: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. počet na 100 tis.)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lvl="0" algn="r">
              <a:defRPr/>
            </a:pPr>
            <a:r>
              <a:rPr lang="cs-CZ" sz="1200" dirty="0">
                <a:solidFill>
                  <a:srgbClr val="FF0000"/>
                </a:solidFill>
                <a:latin typeface="Calibri" panose="020F0502020204030204"/>
              </a:rPr>
              <a:t>62 na 100 tisíc</a:t>
            </a:r>
          </a:p>
          <a:p>
            <a:pPr lvl="0" algn="r">
              <a:defRPr/>
            </a:pPr>
            <a:r>
              <a:rPr lang="cs-CZ" sz="1200" dirty="0">
                <a:solidFill>
                  <a:srgbClr val="FF9900"/>
                </a:solidFill>
                <a:latin typeface="Calibri" panose="020F0502020204030204"/>
              </a:rPr>
              <a:t>14 na 100 tisíc</a:t>
            </a:r>
          </a:p>
          <a:p>
            <a:pPr lvl="0" algn="r">
              <a:defRPr/>
            </a:pPr>
            <a:r>
              <a:rPr lang="cs-CZ" sz="1200" dirty="0">
                <a:solidFill>
                  <a:srgbClr val="00B050"/>
                </a:solidFill>
                <a:latin typeface="Calibri" panose="020F0502020204030204"/>
              </a:rPr>
              <a:t>3 na 100 tisíc</a:t>
            </a: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266137AA-9182-40A3-A142-5179882050AD}"/>
              </a:ext>
            </a:extLst>
          </p:cNvPr>
          <p:cNvSpPr txBox="1"/>
          <p:nvPr/>
        </p:nvSpPr>
        <p:spPr>
          <a:xfrm>
            <a:off x="1924103" y="1434256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7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</a:t>
            </a: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6. 2021)</a:t>
            </a: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E32A18E1-478B-49B3-B19F-744DF92D3F6C}"/>
              </a:ext>
            </a:extLst>
          </p:cNvPr>
          <p:cNvSpPr txBox="1"/>
          <p:nvPr/>
        </p:nvSpPr>
        <p:spPr>
          <a:xfrm>
            <a:off x="7273125" y="2199307"/>
            <a:ext cx="1945048" cy="100027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b="1" dirty="0">
                <a:solidFill>
                  <a:prstClr val="black"/>
                </a:solidFill>
                <a:latin typeface="Calibri" panose="020F0502020204030204"/>
              </a:rPr>
              <a:t>30. 6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2021 </a:t>
            </a:r>
            <a:b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7denní </a:t>
            </a:r>
            <a:r>
              <a:rPr lang="cs-CZ" sz="1100" dirty="0" err="1">
                <a:solidFill>
                  <a:prstClr val="black"/>
                </a:solidFill>
                <a:latin typeface="Calibri" panose="020F0502020204030204"/>
              </a:rPr>
              <a:t>kum</a:t>
            </a: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. počet na 100 tis.)</a:t>
            </a:r>
            <a:endParaRPr kumimoji="0" lang="cs-CZ" sz="12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lvl="0" algn="r">
              <a:defRPr/>
            </a:pPr>
            <a:r>
              <a:rPr lang="cs-CZ" sz="1200" dirty="0">
                <a:solidFill>
                  <a:srgbClr val="FF0000"/>
                </a:solidFill>
                <a:latin typeface="Calibri" panose="020F0502020204030204"/>
              </a:rPr>
              <a:t>44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a 100 tisíc</a:t>
            </a:r>
          </a:p>
          <a:p>
            <a:pPr lvl="0" algn="r">
              <a:defRPr/>
            </a:pPr>
            <a:r>
              <a:rPr lang="cs-CZ" sz="1200" dirty="0">
                <a:solidFill>
                  <a:srgbClr val="FF9900"/>
                </a:solidFill>
                <a:latin typeface="Calibri" panose="020F0502020204030204"/>
              </a:rPr>
              <a:t>17 na 100 tisíc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srgbClr val="FF99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lvl="0" algn="r">
              <a:defRPr/>
            </a:pPr>
            <a:r>
              <a:rPr lang="cs-CZ" sz="1200" dirty="0">
                <a:solidFill>
                  <a:srgbClr val="00B050"/>
                </a:solidFill>
                <a:latin typeface="Calibri" panose="020F0502020204030204"/>
              </a:rPr>
              <a:t>6 na 100 tisíc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TextBox 6">
            <a:extLst>
              <a:ext uri="{FF2B5EF4-FFF2-40B4-BE49-F238E27FC236}">
                <a16:creationId xmlns:a16="http://schemas.microsoft.com/office/drawing/2014/main" id="{8B058FAD-246D-4FB5-9A38-9461A45D5931}"/>
              </a:ext>
            </a:extLst>
          </p:cNvPr>
          <p:cNvSpPr txBox="1"/>
          <p:nvPr/>
        </p:nvSpPr>
        <p:spPr>
          <a:xfrm rot="16200000">
            <a:off x="-1483263" y="3360473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2AE1522-C017-42C8-A5BD-E7F3E887F3AA}"/>
              </a:ext>
            </a:extLst>
          </p:cNvPr>
          <p:cNvSpPr txBox="1"/>
          <p:nvPr/>
        </p:nvSpPr>
        <p:spPr>
          <a:xfrm>
            <a:off x="7780712" y="1826572"/>
            <a:ext cx="29732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i="1" dirty="0"/>
              <a:t>Predikované hodnoty </a:t>
            </a:r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C2CDA8BD-006D-42A8-BA88-064DA323F845}"/>
              </a:ext>
            </a:extLst>
          </p:cNvPr>
          <p:cNvSpPr txBox="1"/>
          <p:nvPr/>
        </p:nvSpPr>
        <p:spPr>
          <a:xfrm>
            <a:off x="11558187" y="3553360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00" b="1" dirty="0">
                <a:latin typeface="Calibri" panose="020F0502020204030204" pitchFamily="34" charset="0"/>
                <a:cs typeface="Calibri" panose="020F0502020204030204" pitchFamily="34" charset="0"/>
              </a:rPr>
              <a:t>100</a:t>
            </a:r>
          </a:p>
          <a:p>
            <a:r>
              <a:rPr lang="cs-CZ" sz="800" dirty="0">
                <a:latin typeface="Calibri" panose="020F0502020204030204" pitchFamily="34" charset="0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5B77FD62-F375-40BF-A635-0F86D4274581}"/>
              </a:ext>
            </a:extLst>
          </p:cNvPr>
          <p:cNvSpPr txBox="1"/>
          <p:nvPr/>
        </p:nvSpPr>
        <p:spPr>
          <a:xfrm>
            <a:off x="11577452" y="4621660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00" b="1" dirty="0">
                <a:latin typeface="Calibri" panose="020F0502020204030204" pitchFamily="34" charset="0"/>
                <a:cs typeface="Calibri" panose="020F0502020204030204" pitchFamily="34" charset="0"/>
              </a:rPr>
              <a:t>50</a:t>
            </a:r>
          </a:p>
          <a:p>
            <a:r>
              <a:rPr lang="cs-CZ" sz="800" dirty="0">
                <a:latin typeface="Calibri" panose="020F0502020204030204" pitchFamily="34" charset="0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6B5697D9-F2B4-42B4-B771-A4D90D623012}"/>
              </a:ext>
            </a:extLst>
          </p:cNvPr>
          <p:cNvSpPr txBox="1"/>
          <p:nvPr/>
        </p:nvSpPr>
        <p:spPr>
          <a:xfrm>
            <a:off x="5470252" y="1231063"/>
            <a:ext cx="194504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pl-PL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 uzavřenému dni 27. 6. 2021</a:t>
            </a: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19433555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dirty="0"/>
              <a:t>Stav a vývoj epidemie COVID-19 </a:t>
            </a:r>
            <a:br>
              <a:rPr lang="cs-CZ" dirty="0"/>
            </a:br>
            <a:r>
              <a:rPr lang="cs-CZ" dirty="0"/>
              <a:t>v dostupných datech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04925" y="3693109"/>
            <a:ext cx="9867900" cy="2250491"/>
          </a:xfrm>
        </p:spPr>
        <p:txBody>
          <a:bodyPr>
            <a:normAutofit/>
          </a:bodyPr>
          <a:lstStyle/>
          <a:p>
            <a:r>
              <a:rPr lang="cs-CZ" sz="4800" b="1" dirty="0"/>
              <a:t>Krátkodobé populační predikce pro jednotlivé regiony</a:t>
            </a:r>
            <a:endParaRPr lang="en-US" sz="4800" b="1" dirty="0"/>
          </a:p>
        </p:txBody>
      </p:sp>
    </p:spTree>
    <p:extLst>
      <p:ext uri="{BB962C8B-B14F-4D97-AF65-F5344CB8AC3E}">
        <p14:creationId xmlns:p14="http://schemas.microsoft.com/office/powerpoint/2010/main" val="383471517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B1276870-99EE-4D94-8977-D4A2442A6BF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67527596"/>
              </p:ext>
            </p:extLst>
          </p:nvPr>
        </p:nvGraphicFramePr>
        <p:xfrm>
          <a:off x="556549" y="3273786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399F9D63-C378-4018-B97A-C6FF1B38BBF2}"/>
              </a:ext>
            </a:extLst>
          </p:cNvPr>
          <p:cNvSpPr txBox="1"/>
          <p:nvPr/>
        </p:nvSpPr>
        <p:spPr>
          <a:xfrm>
            <a:off x="214075" y="1050497"/>
            <a:ext cx="38671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 dle hodnoty reprodukčního čísla 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69B8FCCD-AB42-495D-8900-E0EDAF4D3695}"/>
              </a:ext>
            </a:extLst>
          </p:cNvPr>
          <p:cNvSpPr txBox="1"/>
          <p:nvPr/>
        </p:nvSpPr>
        <p:spPr>
          <a:xfrm>
            <a:off x="4792918" y="638978"/>
            <a:ext cx="5031486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vý scénář (R = 1,10)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915432FB-02C6-4A48-823E-AAFFD38F04CD}"/>
              </a:ext>
            </a:extLst>
          </p:cNvPr>
          <p:cNvSpPr txBox="1"/>
          <p:nvPr/>
        </p:nvSpPr>
        <p:spPr>
          <a:xfrm>
            <a:off x="4792918" y="1947883"/>
            <a:ext cx="5031486" cy="369332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zpomalení (R = 0,70)</a:t>
            </a:r>
          </a:p>
        </p:txBody>
      </p:sp>
      <p:cxnSp>
        <p:nvCxnSpPr>
          <p:cNvPr id="10" name="Přímá spojnice se šipkou 9">
            <a:extLst>
              <a:ext uri="{FF2B5EF4-FFF2-40B4-BE49-F238E27FC236}">
                <a16:creationId xmlns:a16="http://schemas.microsoft.com/office/drawing/2014/main" id="{2FBBF0DE-751C-4A8D-9688-745F518DEA63}"/>
              </a:ext>
            </a:extLst>
          </p:cNvPr>
          <p:cNvCxnSpPr/>
          <p:nvPr/>
        </p:nvCxnSpPr>
        <p:spPr>
          <a:xfrm flipV="1">
            <a:off x="4154743" y="864532"/>
            <a:ext cx="523875" cy="56949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Přímá spojnice se šipkou 10">
            <a:extLst>
              <a:ext uri="{FF2B5EF4-FFF2-40B4-BE49-F238E27FC236}">
                <a16:creationId xmlns:a16="http://schemas.microsoft.com/office/drawing/2014/main" id="{427BD7B2-178E-45A0-B634-921C0C8A629F}"/>
              </a:ext>
            </a:extLst>
          </p:cNvPr>
          <p:cNvCxnSpPr/>
          <p:nvPr/>
        </p:nvCxnSpPr>
        <p:spPr>
          <a:xfrm>
            <a:off x="4154743" y="1503447"/>
            <a:ext cx="523875" cy="64073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6">
            <a:extLst>
              <a:ext uri="{FF2B5EF4-FFF2-40B4-BE49-F238E27FC236}">
                <a16:creationId xmlns:a16="http://schemas.microsoft.com/office/drawing/2014/main" id="{69CEF138-18A8-4271-9FEF-402DB7C25B86}"/>
              </a:ext>
            </a:extLst>
          </p:cNvPr>
          <p:cNvSpPr txBox="1"/>
          <p:nvPr/>
        </p:nvSpPr>
        <p:spPr>
          <a:xfrm>
            <a:off x="489851" y="2893021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D297EC6B-32AF-493A-B2A7-B285C8CEF178}"/>
              </a:ext>
            </a:extLst>
          </p:cNvPr>
          <p:cNvSpPr txBox="1"/>
          <p:nvPr/>
        </p:nvSpPr>
        <p:spPr>
          <a:xfrm>
            <a:off x="4475378" y="2789253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10</a:t>
            </a: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3C9B186B-8163-428B-A364-E90D3144B57D}"/>
              </a:ext>
            </a:extLst>
          </p:cNvPr>
          <p:cNvSpPr/>
          <p:nvPr/>
        </p:nvSpPr>
        <p:spPr>
          <a:xfrm>
            <a:off x="7952761" y="2841929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35669B2F-D612-4664-B709-53D98132D57A}"/>
              </a:ext>
            </a:extLst>
          </p:cNvPr>
          <p:cNvSpPr txBox="1"/>
          <p:nvPr/>
        </p:nvSpPr>
        <p:spPr>
          <a:xfrm>
            <a:off x="8249942" y="2790122"/>
            <a:ext cx="15734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9" name="Přímá spojnice 18">
            <a:extLst>
              <a:ext uri="{FF2B5EF4-FFF2-40B4-BE49-F238E27FC236}">
                <a16:creationId xmlns:a16="http://schemas.microsoft.com/office/drawing/2014/main" id="{76B85254-1A7D-488E-9830-3F99A7742F43}"/>
              </a:ext>
            </a:extLst>
          </p:cNvPr>
          <p:cNvCxnSpPr>
            <a:cxnSpLocks/>
          </p:cNvCxnSpPr>
          <p:nvPr/>
        </p:nvCxnSpPr>
        <p:spPr>
          <a:xfrm>
            <a:off x="4180633" y="2944288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7DE1342D-EB8B-4B07-AF76-9D71853830EC}"/>
              </a:ext>
            </a:extLst>
          </p:cNvPr>
          <p:cNvSpPr txBox="1"/>
          <p:nvPr/>
        </p:nvSpPr>
        <p:spPr>
          <a:xfrm>
            <a:off x="4475378" y="3014473"/>
            <a:ext cx="313540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0	</a:t>
            </a:r>
          </a:p>
        </p:txBody>
      </p: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E4706C2C-C343-4CD4-BC4A-ED6979CFCE85}"/>
              </a:ext>
            </a:extLst>
          </p:cNvPr>
          <p:cNvCxnSpPr>
            <a:cxnSpLocks/>
          </p:cNvCxnSpPr>
          <p:nvPr/>
        </p:nvCxnSpPr>
        <p:spPr>
          <a:xfrm>
            <a:off x="4180633" y="3167595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24">
            <a:extLst>
              <a:ext uri="{FF2B5EF4-FFF2-40B4-BE49-F238E27FC236}">
                <a16:creationId xmlns:a16="http://schemas.microsoft.com/office/drawing/2014/main" id="{E453CAE8-274D-40EB-837F-1DFE06B3FC2E}"/>
              </a:ext>
            </a:extLst>
          </p:cNvPr>
          <p:cNvCxnSpPr>
            <a:cxnSpLocks/>
          </p:cNvCxnSpPr>
          <p:nvPr/>
        </p:nvCxnSpPr>
        <p:spPr>
          <a:xfrm>
            <a:off x="4180633" y="3387705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66CCB7E5-B893-4905-A783-B3A264BEFB90}"/>
              </a:ext>
            </a:extLst>
          </p:cNvPr>
          <p:cNvSpPr txBox="1"/>
          <p:nvPr/>
        </p:nvSpPr>
        <p:spPr>
          <a:xfrm>
            <a:off x="10091064" y="4065325"/>
            <a:ext cx="1544387" cy="83099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8. </a:t>
            </a:r>
            <a:r>
              <a:rPr lang="cs-CZ" sz="1200" b="1" dirty="0">
                <a:solidFill>
                  <a:prstClr val="black"/>
                </a:solidFill>
                <a:latin typeface="Calibri" panose="020F0502020204030204"/>
              </a:rPr>
              <a:t>7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2021</a:t>
            </a: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110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22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5 predikovaných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266137AA-9182-40A3-A142-5179882050AD}"/>
              </a:ext>
            </a:extLst>
          </p:cNvPr>
          <p:cNvSpPr txBox="1"/>
          <p:nvPr/>
        </p:nvSpPr>
        <p:spPr>
          <a:xfrm>
            <a:off x="4467521" y="3238409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7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</a:t>
            </a: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6. 2021, R aplikováno od 24. 5. 2021)</a:t>
            </a: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E32A18E1-478B-49B3-B19F-744DF92D3F6C}"/>
              </a:ext>
            </a:extLst>
          </p:cNvPr>
          <p:cNvSpPr txBox="1"/>
          <p:nvPr/>
        </p:nvSpPr>
        <p:spPr>
          <a:xfrm>
            <a:off x="7780712" y="4294618"/>
            <a:ext cx="1544387" cy="83099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b="1" dirty="0">
                <a:solidFill>
                  <a:prstClr val="black"/>
                </a:solidFill>
                <a:latin typeface="Calibri" panose="020F0502020204030204"/>
              </a:rPr>
              <a:t>30. 6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2021</a:t>
            </a: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78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27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8 predikovaných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22" name="Nadpis 1">
            <a:extLst>
              <a:ext uri="{FF2B5EF4-FFF2-40B4-BE49-F238E27FC236}">
                <a16:creationId xmlns:a16="http://schemas.microsoft.com/office/drawing/2014/main" id="{6518D429-51CE-40C1-89F9-ADE1A20304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ce ve třech scénářích: Praha</a:t>
            </a:r>
          </a:p>
        </p:txBody>
      </p:sp>
      <p:pic>
        <p:nvPicPr>
          <p:cNvPr id="27" name="Obrázek 26">
            <a:extLst>
              <a:ext uri="{FF2B5EF4-FFF2-40B4-BE49-F238E27FC236}">
                <a16:creationId xmlns:a16="http://schemas.microsoft.com/office/drawing/2014/main" id="{3A3D10F2-5603-4536-8013-E5443E88E93F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6542" y="634041"/>
            <a:ext cx="369332" cy="369332"/>
          </a:xfrm>
          <a:prstGeom prst="rect">
            <a:avLst/>
          </a:prstGeom>
        </p:spPr>
      </p:pic>
      <p:sp>
        <p:nvSpPr>
          <p:cNvPr id="23" name="TextovéPole 22">
            <a:extLst>
              <a:ext uri="{FF2B5EF4-FFF2-40B4-BE49-F238E27FC236}">
                <a16:creationId xmlns:a16="http://schemas.microsoft.com/office/drawing/2014/main" id="{A4D6CFAB-B2E1-4A6C-B639-0AFE4F9B576A}"/>
              </a:ext>
            </a:extLst>
          </p:cNvPr>
          <p:cNvSpPr txBox="1"/>
          <p:nvPr/>
        </p:nvSpPr>
        <p:spPr>
          <a:xfrm>
            <a:off x="8249942" y="3001602"/>
            <a:ext cx="194504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pl-PL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 uzavřenému dni 27. 6. 2021</a:t>
            </a: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0324523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ulka 9">
            <a:extLst>
              <a:ext uri="{FF2B5EF4-FFF2-40B4-BE49-F238E27FC236}">
                <a16:creationId xmlns:a16="http://schemas.microsoft.com/office/drawing/2014/main" id="{2CDF3C9D-B366-482C-9DEE-848BF9D72A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67223323"/>
              </p:ext>
            </p:extLst>
          </p:nvPr>
        </p:nvGraphicFramePr>
        <p:xfrm>
          <a:off x="45720" y="1318054"/>
          <a:ext cx="12108951" cy="5019468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18422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3468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93810515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272550134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889585356"/>
                    </a:ext>
                  </a:extLst>
                </a:gridCol>
                <a:gridCol w="1116000">
                  <a:extLst>
                    <a:ext uri="{9D8B030D-6E8A-4147-A177-3AD203B41FA5}">
                      <a16:colId xmlns:a16="http://schemas.microsoft.com/office/drawing/2014/main" val="3083214646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487868241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891010204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340384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264344487"/>
                    </a:ext>
                  </a:extLst>
                </a:gridCol>
                <a:gridCol w="1008000">
                  <a:extLst>
                    <a:ext uri="{9D8B030D-6E8A-4147-A177-3AD203B41FA5}">
                      <a16:colId xmlns:a16="http://schemas.microsoft.com/office/drawing/2014/main" val="13148050"/>
                    </a:ext>
                  </a:extLst>
                </a:gridCol>
                <a:gridCol w="1008000">
                  <a:extLst>
                    <a:ext uri="{9D8B030D-6E8A-4147-A177-3AD203B41FA5}">
                      <a16:colId xmlns:a16="http://schemas.microsoft.com/office/drawing/2014/main" val="1091220691"/>
                    </a:ext>
                  </a:extLst>
                </a:gridCol>
              </a:tblGrid>
              <a:tr h="822960">
                <a:tc>
                  <a:txBody>
                    <a:bodyPr/>
                    <a:lstStyle/>
                    <a:p>
                      <a:pPr algn="l"/>
                      <a:endParaRPr lang="cs-CZ" sz="16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cs-CZ" sz="1600" u="sng" dirty="0"/>
                        <a:t>Predikovaný celkový počet</a:t>
                      </a:r>
                      <a:r>
                        <a:rPr lang="cs-CZ" sz="1600" u="none" dirty="0"/>
                        <a:t> </a:t>
                      </a:r>
                      <a:br>
                        <a:rPr lang="cs-CZ" sz="1600" u="none" dirty="0"/>
                      </a:br>
                      <a:r>
                        <a:rPr lang="cs-CZ" sz="1600" u="none" dirty="0"/>
                        <a:t>N</a:t>
                      </a:r>
                      <a:r>
                        <a:rPr lang="cs-CZ" sz="1600" dirty="0"/>
                        <a:t>ově prokázané nákazy COVID-19</a:t>
                      </a:r>
                      <a:endParaRPr lang="cs-CZ" sz="1600" b="1" dirty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alita: naměřené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odnot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u="sng" dirty="0"/>
                        <a:t>Predikovaný průměrný denní počet</a:t>
                      </a:r>
                      <a:r>
                        <a:rPr lang="cs-CZ" sz="1600" dirty="0"/>
                        <a:t> Nově prokázané nákazy COVID-19</a:t>
                      </a:r>
                      <a:endParaRPr lang="cs-CZ" sz="16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600" b="1" dirty="0"/>
                        <a:t>Realita: naměřené</a:t>
                      </a:r>
                    </a:p>
                    <a:p>
                      <a:pPr algn="ctr"/>
                      <a:r>
                        <a:rPr lang="cs-CZ" sz="1600" b="1" dirty="0"/>
                        <a:t>hodnoty</a:t>
                      </a:r>
                      <a:endParaRPr lang="en-US" sz="16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16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87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odnota R</a:t>
                      </a:r>
                      <a:br>
                        <a:rPr lang="cs-CZ" sz="16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od 24</a:t>
                      </a:r>
                      <a:r>
                        <a:rPr lang="en-US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r>
                        <a:rPr lang="cs-CZ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5.)</a:t>
                      </a:r>
                      <a:endParaRPr lang="cs-CZ" sz="16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7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8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9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,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</a:t>
                      </a:r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FF"/>
                        </a:highlight>
                        <a:latin typeface="+mj-lt"/>
                      </a:endParaRP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7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8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9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,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</a:t>
                      </a:r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FF"/>
                        </a:highlight>
                        <a:latin typeface="+mj-lt"/>
                      </a:endParaRP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highlight>
                            <a:srgbClr val="FFFFFF"/>
                          </a:highlight>
                        </a:rPr>
                        <a:t>denní průměr včetně víkendů</a:t>
                      </a:r>
                      <a:endParaRPr lang="en-US" sz="1200" dirty="0">
                        <a:highlight>
                          <a:srgbClr val="FFFFFF"/>
                        </a:highlight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highlight>
                            <a:srgbClr val="FFFFFF"/>
                          </a:highlight>
                        </a:rPr>
                        <a:t>denní průměr v pracovních dnech</a:t>
                      </a:r>
                      <a:endParaRPr lang="cs-CZ" sz="1200" dirty="0">
                        <a:highlight>
                          <a:srgbClr val="FFFFFF"/>
                        </a:highlight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8491739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indent="0" algn="l" fontAlgn="b"/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  <a:r>
                        <a:rPr lang="cs-CZ" sz="1450" b="1" u="none" strike="noStrike" dirty="0">
                          <a:effectLst/>
                        </a:rPr>
                        <a:t>.–13. 6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 tisíce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 tisíce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 tisíce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 tisíce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6621032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50" u="none" strike="noStrike" dirty="0">
                          <a:effectLst/>
                        </a:rPr>
                        <a:t>Období </a:t>
                      </a:r>
                      <a:r>
                        <a:rPr lang="cs-CZ" sz="1450" b="1" u="none" strike="noStrike" dirty="0">
                          <a:effectLst/>
                        </a:rPr>
                        <a:t>14.–20. 6.</a:t>
                      </a:r>
                      <a:endParaRPr lang="cs-CZ" sz="14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 tisíce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 tisíce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 tisíce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 tisíce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62736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1</a:t>
                      </a:r>
                      <a:r>
                        <a:rPr lang="cs-CZ" sz="1450" b="1" u="none" strike="noStrike" dirty="0">
                          <a:effectLst/>
                        </a:rPr>
                        <a:t>.–27. 6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 tisíce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 tisíce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 tisíce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3466947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indent="0" algn="l" fontAlgn="b"/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8. 6.</a:t>
                      </a:r>
                      <a:r>
                        <a:rPr lang="cs-CZ" sz="1450" b="1" u="none" strike="noStrike" dirty="0">
                          <a:effectLst/>
                        </a:rPr>
                        <a:t>–4. 7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 tisíce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 tisíce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6 tisíce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7246171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.</a:t>
                      </a:r>
                      <a:r>
                        <a:rPr lang="cs-CZ" sz="1450" b="1" u="none" strike="noStrike" dirty="0">
                          <a:effectLst/>
                        </a:rPr>
                        <a:t>–11. 7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 tisíce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6 tisíce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9339872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.</a:t>
                      </a:r>
                      <a:r>
                        <a:rPr lang="cs-CZ" sz="1450" b="1" u="none" strike="noStrike" dirty="0">
                          <a:effectLst/>
                        </a:rPr>
                        <a:t>–18. 7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 tisíce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7 tisíce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4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651041"/>
                  </a:ext>
                </a:extLst>
              </a:tr>
            </a:tbl>
          </a:graphicData>
        </a:graphic>
      </p:graphicFrame>
      <p:sp>
        <p:nvSpPr>
          <p:cNvPr id="9" name="TextovéPole 8">
            <a:extLst>
              <a:ext uri="{FF2B5EF4-FFF2-40B4-BE49-F238E27FC236}">
                <a16:creationId xmlns:a16="http://schemas.microsoft.com/office/drawing/2014/main" id="{E4A0DC13-0AB7-42C0-B44A-C8095E8723E9}"/>
              </a:ext>
            </a:extLst>
          </p:cNvPr>
          <p:cNvSpPr txBox="1"/>
          <p:nvPr/>
        </p:nvSpPr>
        <p:spPr>
          <a:xfrm>
            <a:off x="45720" y="6388483"/>
            <a:ext cx="12090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200" dirty="0">
                <a:solidFill>
                  <a:schemeClr val="accent1"/>
                </a:solidFill>
              </a:rPr>
              <a:t>Predikované počty odpovídají modelovaným hodnotám (kalibrovaným na hodnoty pozorované v pracovních dnech), naměřené hodnoty zahrnují všechny počty hlášené do databáze, včetně potenciálně nižších záchytů nemoci v nepracovních dnech. V případě denního průměrného počtu jsou uvedeny i hodnoty, které zahrnují pouze pracovní dny.</a:t>
            </a:r>
          </a:p>
        </p:txBody>
      </p:sp>
      <p:sp>
        <p:nvSpPr>
          <p:cNvPr id="8" name="Nadpis 1">
            <a:extLst>
              <a:ext uri="{FF2B5EF4-FFF2-40B4-BE49-F238E27FC236}">
                <a16:creationId xmlns:a16="http://schemas.microsoft.com/office/drawing/2014/main" id="{DBBDF33E-D7ED-4B93-A481-745FE41008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558611" cy="576000"/>
          </a:xfrm>
        </p:spPr>
        <p:txBody>
          <a:bodyPr/>
          <a:lstStyle/>
          <a:p>
            <a:r>
              <a:rPr lang="cs-CZ" dirty="0" err="1"/>
              <a:t>Rekalibrace</a:t>
            </a:r>
            <a:r>
              <a:rPr lang="cs-CZ" dirty="0"/>
              <a:t> prediktivního modelu pro </a:t>
            </a:r>
            <a:r>
              <a:rPr lang="cs-CZ" u="sng" dirty="0"/>
              <a:t>nové scénáře</a:t>
            </a:r>
            <a:r>
              <a:rPr lang="cs-CZ" dirty="0"/>
              <a:t>: Praha</a:t>
            </a:r>
          </a:p>
        </p:txBody>
      </p:sp>
      <p:pic>
        <p:nvPicPr>
          <p:cNvPr id="11" name="Obrázek 10">
            <a:extLst>
              <a:ext uri="{FF2B5EF4-FFF2-40B4-BE49-F238E27FC236}">
                <a16:creationId xmlns:a16="http://schemas.microsoft.com/office/drawing/2014/main" id="{E3064824-E88F-4EE9-8D00-EC8C0468EA57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6542" y="634041"/>
            <a:ext cx="369332" cy="369332"/>
          </a:xfrm>
          <a:prstGeom prst="rect">
            <a:avLst/>
          </a:prstGeom>
        </p:spPr>
      </p:pic>
      <p:sp>
        <p:nvSpPr>
          <p:cNvPr id="12" name="TextovéPole 11">
            <a:extLst>
              <a:ext uri="{FF2B5EF4-FFF2-40B4-BE49-F238E27FC236}">
                <a16:creationId xmlns:a16="http://schemas.microsoft.com/office/drawing/2014/main" id="{20BBC5FF-4679-4750-BFE3-AF0E5304AD6E}"/>
              </a:ext>
            </a:extLst>
          </p:cNvPr>
          <p:cNvSpPr txBox="1"/>
          <p:nvPr/>
        </p:nvSpPr>
        <p:spPr>
          <a:xfrm>
            <a:off x="0" y="576002"/>
            <a:ext cx="1231394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600" b="1" dirty="0">
                <a:solidFill>
                  <a:srgbClr val="000000"/>
                </a:solidFill>
              </a:rPr>
              <a:t>Epidemické křivky vytvořeny pomocí modelu pro krátkodobé predikce ÚZIS ČR, </a:t>
            </a:r>
            <a:r>
              <a:rPr lang="pl-PL" sz="1600" b="1" u="sng" dirty="0">
                <a:solidFill>
                  <a:srgbClr val="000000"/>
                </a:solidFill>
              </a:rPr>
              <a:t>predikce odpovídá údajům z 1. 6. 2021.</a:t>
            </a:r>
            <a:endParaRPr lang="cs-CZ" sz="1600" b="1" u="sng" dirty="0">
              <a:solidFill>
                <a:srgbClr val="000000"/>
              </a:solidFill>
            </a:endParaRPr>
          </a:p>
          <a:p>
            <a:pPr lvl="0">
              <a:defRPr/>
            </a:pPr>
            <a:r>
              <a:rPr lang="cs-CZ" sz="1200" b="1" dirty="0">
                <a:solidFill>
                  <a:srgbClr val="000000"/>
                </a:solidFill>
              </a:rPr>
              <a:t>Hodnota celorepublikového modelu byla lokalizovaná do příslušného kraje se zohledněním trendu nárůstu ve </a:t>
            </a:r>
            <a:r>
              <a:rPr lang="pl-PL" sz="1200" b="1" dirty="0">
                <a:solidFill>
                  <a:srgbClr val="000000"/>
                </a:solidFill>
              </a:rPr>
              <a:t>dnech 24. 5. až 31. 5.</a:t>
            </a:r>
          </a:p>
          <a:p>
            <a:pPr lvl="0">
              <a:defRPr/>
            </a:pPr>
            <a:r>
              <a:rPr lang="cs-CZ" sz="1200" b="1" dirty="0">
                <a:solidFill>
                  <a:srgbClr val="000000"/>
                </a:solidFill>
              </a:rPr>
              <a:t>Naměřené hodnoty jsou aktuální </a:t>
            </a:r>
            <a:r>
              <a:rPr lang="pl-PL" sz="1200" b="1" dirty="0">
                <a:solidFill>
                  <a:srgbClr val="000000"/>
                </a:solidFill>
              </a:rPr>
              <a:t>k uzavřenému dni 27. 6. 2021</a:t>
            </a:r>
            <a:r>
              <a:rPr lang="cs-CZ" sz="1200" b="1" dirty="0">
                <a:solidFill>
                  <a:srgbClr val="000000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46466579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B1276870-99EE-4D94-8977-D4A2442A6BF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4430744"/>
              </p:ext>
            </p:extLst>
          </p:nvPr>
        </p:nvGraphicFramePr>
        <p:xfrm>
          <a:off x="556549" y="867747"/>
          <a:ext cx="11354940" cy="5955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5" name="TextovéPole 14">
            <a:extLst>
              <a:ext uri="{FF2B5EF4-FFF2-40B4-BE49-F238E27FC236}">
                <a16:creationId xmlns:a16="http://schemas.microsoft.com/office/drawing/2014/main" id="{D297EC6B-32AF-493A-B2A7-B285C8CEF178}"/>
              </a:ext>
            </a:extLst>
          </p:cNvPr>
          <p:cNvSpPr txBox="1"/>
          <p:nvPr/>
        </p:nvSpPr>
        <p:spPr>
          <a:xfrm>
            <a:off x="1931960" y="976711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10</a:t>
            </a: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3C9B186B-8163-428B-A364-E90D3144B57D}"/>
              </a:ext>
            </a:extLst>
          </p:cNvPr>
          <p:cNvSpPr/>
          <p:nvPr/>
        </p:nvSpPr>
        <p:spPr>
          <a:xfrm>
            <a:off x="5175471" y="1053160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35669B2F-D612-4664-B709-53D98132D57A}"/>
              </a:ext>
            </a:extLst>
          </p:cNvPr>
          <p:cNvSpPr txBox="1"/>
          <p:nvPr/>
        </p:nvSpPr>
        <p:spPr>
          <a:xfrm>
            <a:off x="5472652" y="1001353"/>
            <a:ext cx="15734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9" name="Přímá spojnice 18">
            <a:extLst>
              <a:ext uri="{FF2B5EF4-FFF2-40B4-BE49-F238E27FC236}">
                <a16:creationId xmlns:a16="http://schemas.microsoft.com/office/drawing/2014/main" id="{76B85254-1A7D-488E-9830-3F99A7742F43}"/>
              </a:ext>
            </a:extLst>
          </p:cNvPr>
          <p:cNvCxnSpPr>
            <a:cxnSpLocks/>
          </p:cNvCxnSpPr>
          <p:nvPr/>
        </p:nvCxnSpPr>
        <p:spPr>
          <a:xfrm>
            <a:off x="1637215" y="1131746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7DE1342D-EB8B-4B07-AF76-9D71853830EC}"/>
              </a:ext>
            </a:extLst>
          </p:cNvPr>
          <p:cNvSpPr txBox="1"/>
          <p:nvPr/>
        </p:nvSpPr>
        <p:spPr>
          <a:xfrm>
            <a:off x="1931960" y="1201931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0</a:t>
            </a:r>
          </a:p>
        </p:txBody>
      </p: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E4706C2C-C343-4CD4-BC4A-ED6979CFCE85}"/>
              </a:ext>
            </a:extLst>
          </p:cNvPr>
          <p:cNvCxnSpPr>
            <a:cxnSpLocks/>
          </p:cNvCxnSpPr>
          <p:nvPr/>
        </p:nvCxnSpPr>
        <p:spPr>
          <a:xfrm>
            <a:off x="1637215" y="1355053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24">
            <a:extLst>
              <a:ext uri="{FF2B5EF4-FFF2-40B4-BE49-F238E27FC236}">
                <a16:creationId xmlns:a16="http://schemas.microsoft.com/office/drawing/2014/main" id="{E453CAE8-274D-40EB-837F-1DFE06B3FC2E}"/>
              </a:ext>
            </a:extLst>
          </p:cNvPr>
          <p:cNvCxnSpPr>
            <a:cxnSpLocks/>
          </p:cNvCxnSpPr>
          <p:nvPr/>
        </p:nvCxnSpPr>
        <p:spPr>
          <a:xfrm>
            <a:off x="1637215" y="1583552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66CCB7E5-B893-4905-A783-B3A264BEFB90}"/>
              </a:ext>
            </a:extLst>
          </p:cNvPr>
          <p:cNvSpPr txBox="1"/>
          <p:nvPr/>
        </p:nvSpPr>
        <p:spPr>
          <a:xfrm>
            <a:off x="9546722" y="2199307"/>
            <a:ext cx="1945049" cy="100027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b="1" dirty="0">
                <a:solidFill>
                  <a:prstClr val="black"/>
                </a:solidFill>
                <a:latin typeface="Calibri" panose="020F0502020204030204"/>
              </a:rPr>
              <a:t>18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7. 2021</a:t>
            </a:r>
          </a:p>
          <a:p>
            <a:pPr lvl="0" algn="r"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7denní </a:t>
            </a:r>
            <a:r>
              <a:rPr lang="cs-CZ" sz="1100" dirty="0" err="1">
                <a:solidFill>
                  <a:prstClr val="black"/>
                </a:solidFill>
                <a:latin typeface="Calibri" panose="020F0502020204030204"/>
              </a:rPr>
              <a:t>kum</a:t>
            </a: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. počet na 100 tis.)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55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12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3 na 100 tisíc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266137AA-9182-40A3-A142-5179882050AD}"/>
              </a:ext>
            </a:extLst>
          </p:cNvPr>
          <p:cNvSpPr txBox="1"/>
          <p:nvPr/>
        </p:nvSpPr>
        <p:spPr>
          <a:xfrm>
            <a:off x="1924103" y="1434256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70</a:t>
            </a:r>
          </a:p>
          <a:p>
            <a:pPr lvl="0"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scénáře ze dne 1. 6. 2021, R aplikováno od 24. 5. 2021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E32A18E1-478B-49B3-B19F-744DF92D3F6C}"/>
              </a:ext>
            </a:extLst>
          </p:cNvPr>
          <p:cNvSpPr txBox="1"/>
          <p:nvPr/>
        </p:nvSpPr>
        <p:spPr>
          <a:xfrm>
            <a:off x="7273125" y="2199307"/>
            <a:ext cx="1945048" cy="100027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b="1" dirty="0">
                <a:solidFill>
                  <a:prstClr val="black"/>
                </a:solidFill>
                <a:latin typeface="Calibri" panose="020F0502020204030204"/>
              </a:rPr>
              <a:t>30. 6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2021 </a:t>
            </a:r>
            <a:b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7denní </a:t>
            </a:r>
            <a:r>
              <a:rPr lang="cs-CZ" sz="1100" dirty="0" err="1">
                <a:solidFill>
                  <a:prstClr val="black"/>
                </a:solidFill>
                <a:latin typeface="Calibri" panose="020F0502020204030204"/>
              </a:rPr>
              <a:t>kum</a:t>
            </a: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. počet na 100 tis.)</a:t>
            </a:r>
            <a:endParaRPr kumimoji="0" lang="cs-CZ" sz="12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39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15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5 na 100 tisíc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30" name="TextBox 6">
            <a:extLst>
              <a:ext uri="{FF2B5EF4-FFF2-40B4-BE49-F238E27FC236}">
                <a16:creationId xmlns:a16="http://schemas.microsoft.com/office/drawing/2014/main" id="{8B058FAD-246D-4FB5-9A38-9461A45D5931}"/>
              </a:ext>
            </a:extLst>
          </p:cNvPr>
          <p:cNvSpPr txBox="1"/>
          <p:nvPr/>
        </p:nvSpPr>
        <p:spPr>
          <a:xfrm rot="16200000">
            <a:off x="-1483263" y="3360473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2AE1522-C017-42C8-A5BD-E7F3E887F3AA}"/>
              </a:ext>
            </a:extLst>
          </p:cNvPr>
          <p:cNvSpPr txBox="1"/>
          <p:nvPr/>
        </p:nvSpPr>
        <p:spPr>
          <a:xfrm>
            <a:off x="7780712" y="1826572"/>
            <a:ext cx="29732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i="1" dirty="0"/>
              <a:t>Predikované hodnoty </a:t>
            </a:r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C2CDA8BD-006D-42A8-BA88-064DA323F845}"/>
              </a:ext>
            </a:extLst>
          </p:cNvPr>
          <p:cNvSpPr txBox="1"/>
          <p:nvPr/>
        </p:nvSpPr>
        <p:spPr>
          <a:xfrm>
            <a:off x="11558187" y="3553360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00" b="1" dirty="0">
                <a:latin typeface="Calibri" panose="020F0502020204030204" pitchFamily="34" charset="0"/>
                <a:cs typeface="Calibri" panose="020F0502020204030204" pitchFamily="34" charset="0"/>
              </a:rPr>
              <a:t>100</a:t>
            </a:r>
          </a:p>
          <a:p>
            <a:r>
              <a:rPr lang="cs-CZ" sz="800" dirty="0">
                <a:latin typeface="Calibri" panose="020F0502020204030204" pitchFamily="34" charset="0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5B77FD62-F375-40BF-A635-0F86D4274581}"/>
              </a:ext>
            </a:extLst>
          </p:cNvPr>
          <p:cNvSpPr txBox="1"/>
          <p:nvPr/>
        </p:nvSpPr>
        <p:spPr>
          <a:xfrm>
            <a:off x="11577452" y="4621660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00" b="1" dirty="0">
                <a:latin typeface="Calibri" panose="020F0502020204030204" pitchFamily="34" charset="0"/>
                <a:cs typeface="Calibri" panose="020F0502020204030204" pitchFamily="34" charset="0"/>
              </a:rPr>
              <a:t>50</a:t>
            </a:r>
          </a:p>
          <a:p>
            <a:r>
              <a:rPr lang="cs-CZ" sz="800" dirty="0">
                <a:latin typeface="Calibri" panose="020F0502020204030204" pitchFamily="34" charset="0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31" name="Nadpis 1">
            <a:extLst>
              <a:ext uri="{FF2B5EF4-FFF2-40B4-BE49-F238E27FC236}">
                <a16:creationId xmlns:a16="http://schemas.microsoft.com/office/drawing/2014/main" id="{CFCC2C02-F284-4941-91C6-5CC2566B6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en-US" sz="1800" dirty="0" err="1">
                <a:latin typeface="+mj-lt"/>
              </a:rPr>
              <a:t>Modelov</a:t>
            </a:r>
            <a:r>
              <a:rPr lang="cs-CZ" sz="1800" dirty="0">
                <a:latin typeface="+mj-lt"/>
              </a:rPr>
              <a:t>é scénáře: 7denní hodnoty na 100 tisíc obyvatel: Praha</a:t>
            </a:r>
          </a:p>
        </p:txBody>
      </p: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EE744899-4831-4573-9408-495F16CA9A16}"/>
              </a:ext>
            </a:extLst>
          </p:cNvPr>
          <p:cNvSpPr txBox="1"/>
          <p:nvPr/>
        </p:nvSpPr>
        <p:spPr>
          <a:xfrm>
            <a:off x="228000" y="6456056"/>
            <a:ext cx="1173470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100" dirty="0">
                <a:solidFill>
                  <a:schemeClr val="accent1"/>
                </a:solidFill>
              </a:rPr>
              <a:t>Hodnota celorepublikového modelu byla lokalizovaná do příslušného kraje se zohledněním trendu nárůstu ve dnech 24. 5. až 31. 5.</a:t>
            </a:r>
          </a:p>
        </p:txBody>
      </p:sp>
      <p:pic>
        <p:nvPicPr>
          <p:cNvPr id="33" name="Obrázek 32">
            <a:extLst>
              <a:ext uri="{FF2B5EF4-FFF2-40B4-BE49-F238E27FC236}">
                <a16:creationId xmlns:a16="http://schemas.microsoft.com/office/drawing/2014/main" id="{9B8E0D10-17C4-4853-8301-52892F01D2DB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6542" y="634041"/>
            <a:ext cx="369332" cy="369332"/>
          </a:xfrm>
          <a:prstGeom prst="rect">
            <a:avLst/>
          </a:prstGeom>
        </p:spPr>
      </p:pic>
      <p:sp>
        <p:nvSpPr>
          <p:cNvPr id="27" name="TextovéPole 26">
            <a:extLst>
              <a:ext uri="{FF2B5EF4-FFF2-40B4-BE49-F238E27FC236}">
                <a16:creationId xmlns:a16="http://schemas.microsoft.com/office/drawing/2014/main" id="{40C74570-A5C5-4A26-A041-E7F6E84C0C99}"/>
              </a:ext>
            </a:extLst>
          </p:cNvPr>
          <p:cNvSpPr txBox="1"/>
          <p:nvPr/>
        </p:nvSpPr>
        <p:spPr>
          <a:xfrm>
            <a:off x="5470252" y="1231063"/>
            <a:ext cx="194504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pl-PL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 uzavřenému dni 27. 6. 2021</a:t>
            </a: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3132535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NGAGE" val="{&quot;SavedSwatch&quot;:&quot;-16748873|-10780376|-3468525|-5151986|-9539986|Markido&quot;,&quot;Id&quot;:&quot;5fbfd0ef3433421cc006b16c&quot;,&quot;SmartGridHorizontal&quot;:0,&quot;LinkedExcelSources&quot;:{},&quot;LinkedProjectSources&quot;:{},&quot;FlowConfig&quot;:{&quot;Canvas&quot;:{&quot;Slide&quot;:-1,&quot;Width&quot;:0,&quot;Height&quot;:0},&quot;Timeline&quot;:{&quot;Actions&quot;:[]}},&quot;LinkedSlideMergeSources&quot;:{},&quot;LinkedSharePointSlideMergeSources&quot;:{}}"/>
  <p:tag name="SLIDEFAB_CUSTOMSORTGLOBALLY" val="False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2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OVID-web-sablona</Template>
  <TotalTime>5212</TotalTime>
  <Words>8702</Words>
  <Application>Microsoft Office PowerPoint</Application>
  <PresentationFormat>Widescreen</PresentationFormat>
  <Paragraphs>2052</Paragraphs>
  <Slides>48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48</vt:i4>
      </vt:variant>
    </vt:vector>
  </HeadingPairs>
  <TitlesOfParts>
    <vt:vector size="51" baseType="lpstr">
      <vt:lpstr>Arial</vt:lpstr>
      <vt:lpstr>Calibri</vt:lpstr>
      <vt:lpstr>Motiv Office</vt:lpstr>
      <vt:lpstr>Stav a vývoj epidemie COVID-19  v dostupných datech</vt:lpstr>
      <vt:lpstr>Navržené scénáře pro  vývoj epidemie v červnu/červenci</vt:lpstr>
      <vt:lpstr>Predikce ve třech scénářích</vt:lpstr>
      <vt:lpstr>Rekalibrace prediktivního modelu pro nové scénáře</vt:lpstr>
      <vt:lpstr>Modelové scénáře: 7denní hodnoty na 100 tisíc obyvatel</vt:lpstr>
      <vt:lpstr>Stav a vývoj epidemie COVID-19  v dostupných datech</vt:lpstr>
      <vt:lpstr>Predikce ve třech scénářích: Praha</vt:lpstr>
      <vt:lpstr>Rekalibrace prediktivního modelu pro nové scénáře: Praha</vt:lpstr>
      <vt:lpstr>Modelové scénáře: 7denní hodnoty na 100 tisíc obyvatel: Praha</vt:lpstr>
      <vt:lpstr>Predikce ve třech scénářích: Středočeský kraj</vt:lpstr>
      <vt:lpstr>Rekalibrace prediktivního modelu pro nové scénáře: Středočeský kraj</vt:lpstr>
      <vt:lpstr>Modelové scénáře: 7denní hodnoty na 100 tisíc obyvatel: Středočeský kraj</vt:lpstr>
      <vt:lpstr>Predikce ve třech scénářích: Jihočeský kraj</vt:lpstr>
      <vt:lpstr>Rekalibrace prediktivního modelu pro nové scénáře: Jihočeský kraj</vt:lpstr>
      <vt:lpstr>Modelové scénáře: 7denní hodnoty na 100 tisíc obyvatel: Jihočeský kraj</vt:lpstr>
      <vt:lpstr>Predikce ve třech scénářích: Plzeňský kraj</vt:lpstr>
      <vt:lpstr>Rekalibrace prediktivního modelu pro nové scénáře: Plzeňský kraj</vt:lpstr>
      <vt:lpstr>Modelové scénáře: 7denní hodnoty na 100 tisíc obyvatel: Plzeňský kraj</vt:lpstr>
      <vt:lpstr>Predikce ve třech scénářích: Karlovarský kraj</vt:lpstr>
      <vt:lpstr>Rekalibrace prediktivního modelu pro nové scénáře: Karlovarský kraj</vt:lpstr>
      <vt:lpstr>Modelové scénáře: 7denní hodnoty na 100 tisíc obyvatel: Karlovarský kraj</vt:lpstr>
      <vt:lpstr>Predikce ve třech scénářích: Ústecký kraj</vt:lpstr>
      <vt:lpstr>Rekalibrace prediktivního modelu pro nové scénáře:  Ústecký kraj</vt:lpstr>
      <vt:lpstr>Modelové scénáře: 7denní hodnoty na 100 tisíc obyvatel: Ústecký kraj</vt:lpstr>
      <vt:lpstr>Predikce ve třech scénářích: Liberecký kraj</vt:lpstr>
      <vt:lpstr>Rekalibrace prediktivního modelu pro nové scénáře:  Liberecký kraj</vt:lpstr>
      <vt:lpstr>Modelové scénáře: 7denní hodnoty na 100 tisíc obyvatel: Liberecký kraj</vt:lpstr>
      <vt:lpstr>Predikce ve třech scénářích: Královehradecký kraj</vt:lpstr>
      <vt:lpstr>Rekalibrace prediktivního modelu pro nové scénáře:  Královehradecký kraj</vt:lpstr>
      <vt:lpstr>Modelové scénáře: 7denní hodnoty na 100 tisíc obyvatel: Královehradecký kraj</vt:lpstr>
      <vt:lpstr>Predikce ve třech scénářích: Pardubický kraj</vt:lpstr>
      <vt:lpstr>Rekalibrace prediktivního modelu pro nové scénáře:  Pardubický kraj</vt:lpstr>
      <vt:lpstr>Modelové scénáře: 7denní hodnoty na 100 tisíc obyvatel: Pardubický kraj</vt:lpstr>
      <vt:lpstr>Predikce ve třech scénářích: Kraj Vysočina</vt:lpstr>
      <vt:lpstr>Rekalibrace prediktivního modelu pro nové scénáře:  Kraj Vysočina</vt:lpstr>
      <vt:lpstr>Modelové scénáře: 7denní hodnoty na 100 tisíc obyvatel: Kraj Vysočina</vt:lpstr>
      <vt:lpstr>Predikce ve třech scénářích: Jihomoravský kraj</vt:lpstr>
      <vt:lpstr>Rekalibrace prediktivního modelu pro nové scénáře: Jihomoravský kraj</vt:lpstr>
      <vt:lpstr>Modelové scénáře: 7denní hodnoty na 100 tisíc obyvatel: Jihomoravský kraj</vt:lpstr>
      <vt:lpstr>Predikce ve třech scénářích: Olomoucký kraj</vt:lpstr>
      <vt:lpstr>Rekalibrace prediktivního modelu pro nové scénáře: Olomoucký kraj</vt:lpstr>
      <vt:lpstr>Modelové scénáře: 7denní hodnoty na 100 tisíc obyvatel: Olomoucký kraj</vt:lpstr>
      <vt:lpstr>Predikce ve třech scénářích: Zlínský kraj</vt:lpstr>
      <vt:lpstr>Rekalibrace prediktivního modelu pro nové scénáře: Zlínský kraj</vt:lpstr>
      <vt:lpstr>Modelové scénáře: 7denní hodnoty na 100 tisíc obyvatel: Zlínský kraj</vt:lpstr>
      <vt:lpstr>Predikce ve třech scénářích: Moravskoslezský kraj</vt:lpstr>
      <vt:lpstr>Rekalibrace prediktivního modelu pro nové scénáře: Moravskoslezský kraj</vt:lpstr>
      <vt:lpstr>Modelové scénáře: 7denní hodnoty na 100 tisíc obyvatel: Moravskoslezský kraj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Nováková Tereza Mgr.</dc:creator>
  <cp:lastModifiedBy>Jarkovský Jiří RNDr. Ph.D.</cp:lastModifiedBy>
  <cp:revision>617</cp:revision>
  <dcterms:created xsi:type="dcterms:W3CDTF">2020-11-16T08:14:04Z</dcterms:created>
  <dcterms:modified xsi:type="dcterms:W3CDTF">2021-06-28T20:20:13Z</dcterms:modified>
</cp:coreProperties>
</file>